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04" r:id="rId1"/>
    <p:sldMasterId id="2147483844" r:id="rId2"/>
    <p:sldMasterId id="2147483882" r:id="rId3"/>
  </p:sldMasterIdLst>
  <p:notesMasterIdLst>
    <p:notesMasterId r:id="rId22"/>
  </p:notesMasterIdLst>
  <p:sldIdLst>
    <p:sldId id="293" r:id="rId4"/>
    <p:sldId id="292" r:id="rId5"/>
    <p:sldId id="307" r:id="rId6"/>
    <p:sldId id="308" r:id="rId7"/>
    <p:sldId id="309" r:id="rId8"/>
    <p:sldId id="301" r:id="rId9"/>
    <p:sldId id="299" r:id="rId10"/>
    <p:sldId id="313" r:id="rId11"/>
    <p:sldId id="314" r:id="rId12"/>
    <p:sldId id="315" r:id="rId13"/>
    <p:sldId id="305" r:id="rId14"/>
    <p:sldId id="302" r:id="rId15"/>
    <p:sldId id="295" r:id="rId16"/>
    <p:sldId id="296" r:id="rId17"/>
    <p:sldId id="297" r:id="rId18"/>
    <p:sldId id="298" r:id="rId19"/>
    <p:sldId id="306" r:id="rId20"/>
    <p:sldId id="294" r:id="rId2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D9E90D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79" autoAdjust="0"/>
    <p:restoredTop sz="90510" autoAdjust="0"/>
  </p:normalViewPr>
  <p:slideViewPr>
    <p:cSldViewPr snapToGrid="0">
      <p:cViewPr varScale="1">
        <p:scale>
          <a:sx n="154" d="100"/>
          <a:sy n="154" d="100"/>
        </p:scale>
        <p:origin x="510" y="108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9EA48A-B5F1-4355-8373-A566C4D440E2}" type="doc">
      <dgm:prSet loTypeId="urn:microsoft.com/office/officeart/2008/layout/RadialCluster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F05B5C9-BB56-4D0E-9F01-81BB2C386B97}">
      <dgm:prSet phldrT="[Text]" custT="1"/>
      <dgm:spPr/>
      <dgm:t>
        <a:bodyPr/>
        <a:lstStyle/>
        <a:p>
          <a:pPr algn="ctr"/>
          <a:r>
            <a:rPr lang="en-IE" sz="1600" dirty="0" smtClean="0"/>
            <a:t>Jenkins Master</a:t>
          </a:r>
        </a:p>
      </dgm:t>
    </dgm:pt>
    <dgm:pt modelId="{FE48B0BF-01F4-4B8B-A8B9-D88F6B479CEB}" type="parTrans" cxnId="{5FF0F7A8-3B40-458A-97C7-A33914B757B4}">
      <dgm:prSet/>
      <dgm:spPr/>
      <dgm:t>
        <a:bodyPr/>
        <a:lstStyle/>
        <a:p>
          <a:endParaRPr lang="en-US"/>
        </a:p>
      </dgm:t>
    </dgm:pt>
    <dgm:pt modelId="{0F094AFF-9082-45CC-BC53-F3009EF2CACB}" type="sibTrans" cxnId="{5FF0F7A8-3B40-458A-97C7-A33914B757B4}">
      <dgm:prSet/>
      <dgm:spPr/>
      <dgm:t>
        <a:bodyPr/>
        <a:lstStyle/>
        <a:p>
          <a:endParaRPr lang="en-US"/>
        </a:p>
      </dgm:t>
    </dgm:pt>
    <dgm:pt modelId="{AB51E0A7-CA2A-4E91-AC03-FE01CA1F4EB1}">
      <dgm:prSet phldrT="[Text]" custT="1"/>
      <dgm:spPr/>
      <dgm:t>
        <a:bodyPr/>
        <a:lstStyle/>
        <a:p>
          <a:r>
            <a:rPr lang="en-IE" sz="1200" dirty="0" smtClean="0"/>
            <a:t>Jenkins Slave</a:t>
          </a:r>
          <a:endParaRPr lang="en-US" sz="1200" dirty="0"/>
        </a:p>
      </dgm:t>
    </dgm:pt>
    <dgm:pt modelId="{A1C33B09-EE67-49BD-B2BB-A71808B6C671}" type="parTrans" cxnId="{C9513AB6-6039-47C6-9981-3155636AEB3F}">
      <dgm:prSet/>
      <dgm:spPr/>
      <dgm:t>
        <a:bodyPr/>
        <a:lstStyle/>
        <a:p>
          <a:endParaRPr lang="en-US"/>
        </a:p>
      </dgm:t>
    </dgm:pt>
    <dgm:pt modelId="{A4FA3E38-E9BB-4F5B-ACA7-30922DE44C0B}" type="sibTrans" cxnId="{C9513AB6-6039-47C6-9981-3155636AEB3F}">
      <dgm:prSet/>
      <dgm:spPr/>
      <dgm:t>
        <a:bodyPr/>
        <a:lstStyle/>
        <a:p>
          <a:endParaRPr lang="en-US"/>
        </a:p>
      </dgm:t>
    </dgm:pt>
    <dgm:pt modelId="{B401B9A4-AE2F-422D-9795-B925A79E5771}">
      <dgm:prSet phldrT="[Text]" custT="1"/>
      <dgm:spPr/>
      <dgm:t>
        <a:bodyPr/>
        <a:lstStyle/>
        <a:p>
          <a:r>
            <a:rPr lang="en-IE" sz="1200" dirty="0" smtClean="0"/>
            <a:t>Jenkins Slave</a:t>
          </a:r>
          <a:endParaRPr lang="en-US" sz="1200" dirty="0"/>
        </a:p>
      </dgm:t>
    </dgm:pt>
    <dgm:pt modelId="{28393D47-2DA7-4545-B959-38DC6DD0228F}" type="parTrans" cxnId="{3C237CBF-BD48-4EEC-8433-64E83B1DF642}">
      <dgm:prSet/>
      <dgm:spPr/>
      <dgm:t>
        <a:bodyPr/>
        <a:lstStyle/>
        <a:p>
          <a:endParaRPr lang="en-US"/>
        </a:p>
      </dgm:t>
    </dgm:pt>
    <dgm:pt modelId="{4DDE70C5-4870-4572-937D-CF6A832CCC36}" type="sibTrans" cxnId="{3C237CBF-BD48-4EEC-8433-64E83B1DF642}">
      <dgm:prSet/>
      <dgm:spPr/>
      <dgm:t>
        <a:bodyPr/>
        <a:lstStyle/>
        <a:p>
          <a:endParaRPr lang="en-US"/>
        </a:p>
      </dgm:t>
    </dgm:pt>
    <dgm:pt modelId="{1228CD08-3F28-4F77-8D46-57AC393764BE}">
      <dgm:prSet phldrT="[Text]" custT="1"/>
      <dgm:spPr/>
      <dgm:t>
        <a:bodyPr/>
        <a:lstStyle/>
        <a:p>
          <a:r>
            <a:rPr lang="en-IE" sz="1200" dirty="0" smtClean="0"/>
            <a:t>Jenkins Slave</a:t>
          </a:r>
          <a:endParaRPr lang="en-US" sz="1200" dirty="0"/>
        </a:p>
      </dgm:t>
    </dgm:pt>
    <dgm:pt modelId="{A5315332-290E-4C8F-91CC-49ADACF47FBB}" type="parTrans" cxnId="{8B1EB873-2F19-473A-9A80-E51120A29492}">
      <dgm:prSet/>
      <dgm:spPr/>
      <dgm:t>
        <a:bodyPr/>
        <a:lstStyle/>
        <a:p>
          <a:endParaRPr lang="en-US"/>
        </a:p>
      </dgm:t>
    </dgm:pt>
    <dgm:pt modelId="{BD2C7AB9-88B7-46C7-8ECA-6B184F930A4A}" type="sibTrans" cxnId="{8B1EB873-2F19-473A-9A80-E51120A29492}">
      <dgm:prSet/>
      <dgm:spPr/>
      <dgm:t>
        <a:bodyPr/>
        <a:lstStyle/>
        <a:p>
          <a:endParaRPr lang="en-US"/>
        </a:p>
      </dgm:t>
    </dgm:pt>
    <dgm:pt modelId="{4CA73D4E-E97D-415E-B910-5B658C9BF695}">
      <dgm:prSet phldrT="[Text]" custRadScaleRad="113608" custRadScaleInc="47912"/>
      <dgm:spPr/>
      <dgm:t>
        <a:bodyPr/>
        <a:lstStyle/>
        <a:p>
          <a:endParaRPr lang="en-US"/>
        </a:p>
      </dgm:t>
    </dgm:pt>
    <dgm:pt modelId="{1D3CFC72-6336-4FB1-860A-62140FF50518}" type="parTrans" cxnId="{957E665B-B058-4C6F-83C5-33D463DA8024}">
      <dgm:prSet/>
      <dgm:spPr/>
      <dgm:t>
        <a:bodyPr/>
        <a:lstStyle/>
        <a:p>
          <a:endParaRPr lang="en-US"/>
        </a:p>
      </dgm:t>
    </dgm:pt>
    <dgm:pt modelId="{476E8638-6A75-4396-84F8-2479A096124F}" type="sibTrans" cxnId="{957E665B-B058-4C6F-83C5-33D463DA8024}">
      <dgm:prSet/>
      <dgm:spPr/>
      <dgm:t>
        <a:bodyPr/>
        <a:lstStyle/>
        <a:p>
          <a:endParaRPr lang="en-US"/>
        </a:p>
      </dgm:t>
    </dgm:pt>
    <dgm:pt modelId="{6E21863B-CCA5-45A1-AF6F-74E851D71BDE}">
      <dgm:prSet/>
      <dgm:spPr/>
      <dgm:t>
        <a:bodyPr/>
        <a:lstStyle/>
        <a:p>
          <a:r>
            <a:rPr lang="en-IE" dirty="0" smtClean="0"/>
            <a:t>Registry</a:t>
          </a:r>
        </a:p>
        <a:p>
          <a:r>
            <a:rPr lang="en-IE" dirty="0" smtClean="0"/>
            <a:t>Images</a:t>
          </a:r>
          <a:endParaRPr lang="en-US" dirty="0"/>
        </a:p>
      </dgm:t>
    </dgm:pt>
    <dgm:pt modelId="{49AB4CA2-4315-4B2F-A078-50D64A4BCA7E}" type="parTrans" cxnId="{03327F5C-0707-4F13-87F6-500289099D39}">
      <dgm:prSet/>
      <dgm:spPr/>
      <dgm:t>
        <a:bodyPr/>
        <a:lstStyle/>
        <a:p>
          <a:endParaRPr lang="en-US"/>
        </a:p>
      </dgm:t>
    </dgm:pt>
    <dgm:pt modelId="{E2B94582-9723-4FB1-AB11-B87EB7F3C0A5}" type="sibTrans" cxnId="{03327F5C-0707-4F13-87F6-500289099D39}">
      <dgm:prSet/>
      <dgm:spPr/>
      <dgm:t>
        <a:bodyPr/>
        <a:lstStyle/>
        <a:p>
          <a:endParaRPr lang="en-US"/>
        </a:p>
      </dgm:t>
    </dgm:pt>
    <dgm:pt modelId="{BE791F09-ACE0-4A49-9BC8-F6648A4FC4AD}" type="pres">
      <dgm:prSet presAssocID="{429EA48A-B5F1-4355-8373-A566C4D440E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87EAA3B-4F27-471C-B29F-D5E1C1EC4D82}" type="pres">
      <dgm:prSet presAssocID="{FF05B5C9-BB56-4D0E-9F01-81BB2C386B97}" presName="singleCycle" presStyleCnt="0"/>
      <dgm:spPr/>
    </dgm:pt>
    <dgm:pt modelId="{45AA524F-A88C-4791-8926-788405898865}" type="pres">
      <dgm:prSet presAssocID="{FF05B5C9-BB56-4D0E-9F01-81BB2C386B97}" presName="singleCenter" presStyleLbl="node1" presStyleIdx="0" presStyleCnt="5" custScaleX="108291" custScaleY="115537" custLinFactNeighborX="-22055" custLinFactNeighborY="-12500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77C28584-1F58-4784-A06B-1ECA365C9E7B}" type="pres">
      <dgm:prSet presAssocID="{A1C33B09-EE67-49BD-B2BB-A71808B6C671}" presName="Name56" presStyleLbl="parChTrans1D2" presStyleIdx="0" presStyleCnt="4"/>
      <dgm:spPr/>
      <dgm:t>
        <a:bodyPr/>
        <a:lstStyle/>
        <a:p>
          <a:endParaRPr lang="en-US"/>
        </a:p>
      </dgm:t>
    </dgm:pt>
    <dgm:pt modelId="{2D10C877-3982-42EA-84B3-518E5A360C18}" type="pres">
      <dgm:prSet presAssocID="{AB51E0A7-CA2A-4E91-AC03-FE01CA1F4EB1}" presName="text0" presStyleLbl="node1" presStyleIdx="1" presStyleCnt="5" custRadScaleRad="113608" custRadScaleInc="479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0E3149-5470-4928-A57F-B30CE73C8CDF}" type="pres">
      <dgm:prSet presAssocID="{28393D47-2DA7-4545-B959-38DC6DD0228F}" presName="Name56" presStyleLbl="parChTrans1D2" presStyleIdx="1" presStyleCnt="4"/>
      <dgm:spPr/>
      <dgm:t>
        <a:bodyPr/>
        <a:lstStyle/>
        <a:p>
          <a:endParaRPr lang="en-US"/>
        </a:p>
      </dgm:t>
    </dgm:pt>
    <dgm:pt modelId="{3EE17A24-23DB-4220-8A0C-51C23F2299DD}" type="pres">
      <dgm:prSet presAssocID="{B401B9A4-AE2F-422D-9795-B925A79E5771}" presName="text0" presStyleLbl="node1" presStyleIdx="2" presStyleCnt="5" custRadScaleRad="60544" custRadScaleInc="1087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E44145-E071-4C75-9C1A-92DE37F9F1E6}" type="pres">
      <dgm:prSet presAssocID="{A5315332-290E-4C8F-91CC-49ADACF47FBB}" presName="Name56" presStyleLbl="parChTrans1D2" presStyleIdx="2" presStyleCnt="4"/>
      <dgm:spPr/>
      <dgm:t>
        <a:bodyPr/>
        <a:lstStyle/>
        <a:p>
          <a:endParaRPr lang="en-US"/>
        </a:p>
      </dgm:t>
    </dgm:pt>
    <dgm:pt modelId="{DBDC9F81-0648-413A-952D-2DE1B7CDEA9B}" type="pres">
      <dgm:prSet presAssocID="{1228CD08-3F28-4F77-8D46-57AC393764BE}" presName="text0" presStyleLbl="node1" presStyleIdx="3" presStyleCnt="5" custRadScaleRad="48361" custRadScaleInc="-2770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817761-AA17-43A5-8B4C-8DBD576B00FF}" type="pres">
      <dgm:prSet presAssocID="{49AB4CA2-4315-4B2F-A078-50D64A4BCA7E}" presName="Name56" presStyleLbl="parChTrans1D2" presStyleIdx="3" presStyleCnt="4"/>
      <dgm:spPr/>
      <dgm:t>
        <a:bodyPr/>
        <a:lstStyle/>
        <a:p>
          <a:endParaRPr lang="en-US"/>
        </a:p>
      </dgm:t>
    </dgm:pt>
    <dgm:pt modelId="{85E79A7F-C3A9-4255-AAC6-8CF994BE9469}" type="pres">
      <dgm:prSet presAssocID="{6E21863B-CCA5-45A1-AF6F-74E851D71BDE}" presName="text0" presStyleLbl="node1" presStyleIdx="4" presStyleCnt="5" custRadScaleRad="96994" custRadScaleInc="-1377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BAB645-0644-43EB-B5EF-E7F734600105}" type="presOf" srcId="{1228CD08-3F28-4F77-8D46-57AC393764BE}" destId="{DBDC9F81-0648-413A-952D-2DE1B7CDEA9B}" srcOrd="0" destOrd="0" presId="urn:microsoft.com/office/officeart/2008/layout/RadialCluster"/>
    <dgm:cxn modelId="{8B1EB873-2F19-473A-9A80-E51120A29492}" srcId="{FF05B5C9-BB56-4D0E-9F01-81BB2C386B97}" destId="{1228CD08-3F28-4F77-8D46-57AC393764BE}" srcOrd="2" destOrd="0" parTransId="{A5315332-290E-4C8F-91CC-49ADACF47FBB}" sibTransId="{BD2C7AB9-88B7-46C7-8ECA-6B184F930A4A}"/>
    <dgm:cxn modelId="{5FF0F7A8-3B40-458A-97C7-A33914B757B4}" srcId="{429EA48A-B5F1-4355-8373-A566C4D440E2}" destId="{FF05B5C9-BB56-4D0E-9F01-81BB2C386B97}" srcOrd="0" destOrd="0" parTransId="{FE48B0BF-01F4-4B8B-A8B9-D88F6B479CEB}" sibTransId="{0F094AFF-9082-45CC-BC53-F3009EF2CACB}"/>
    <dgm:cxn modelId="{207D5948-3877-421B-AC20-00076284B659}" type="presOf" srcId="{AB51E0A7-CA2A-4E91-AC03-FE01CA1F4EB1}" destId="{2D10C877-3982-42EA-84B3-518E5A360C18}" srcOrd="0" destOrd="0" presId="urn:microsoft.com/office/officeart/2008/layout/RadialCluster"/>
    <dgm:cxn modelId="{EAA050F4-287B-4B5F-8F82-76B23967BDD5}" type="presOf" srcId="{A5315332-290E-4C8F-91CC-49ADACF47FBB}" destId="{83E44145-E071-4C75-9C1A-92DE37F9F1E6}" srcOrd="0" destOrd="0" presId="urn:microsoft.com/office/officeart/2008/layout/RadialCluster"/>
    <dgm:cxn modelId="{03327F5C-0707-4F13-87F6-500289099D39}" srcId="{FF05B5C9-BB56-4D0E-9F01-81BB2C386B97}" destId="{6E21863B-CCA5-45A1-AF6F-74E851D71BDE}" srcOrd="3" destOrd="0" parTransId="{49AB4CA2-4315-4B2F-A078-50D64A4BCA7E}" sibTransId="{E2B94582-9723-4FB1-AB11-B87EB7F3C0A5}"/>
    <dgm:cxn modelId="{957E665B-B058-4C6F-83C5-33D463DA8024}" srcId="{429EA48A-B5F1-4355-8373-A566C4D440E2}" destId="{4CA73D4E-E97D-415E-B910-5B658C9BF695}" srcOrd="1" destOrd="0" parTransId="{1D3CFC72-6336-4FB1-860A-62140FF50518}" sibTransId="{476E8638-6A75-4396-84F8-2479A096124F}"/>
    <dgm:cxn modelId="{7898F9B5-1EAD-4C34-AC4D-74347DF199EC}" type="presOf" srcId="{429EA48A-B5F1-4355-8373-A566C4D440E2}" destId="{BE791F09-ACE0-4A49-9BC8-F6648A4FC4AD}" srcOrd="0" destOrd="0" presId="urn:microsoft.com/office/officeart/2008/layout/RadialCluster"/>
    <dgm:cxn modelId="{82BCD833-CE54-4556-8918-1E5CA9700FFC}" type="presOf" srcId="{49AB4CA2-4315-4B2F-A078-50D64A4BCA7E}" destId="{85817761-AA17-43A5-8B4C-8DBD576B00FF}" srcOrd="0" destOrd="0" presId="urn:microsoft.com/office/officeart/2008/layout/RadialCluster"/>
    <dgm:cxn modelId="{A0E9DC80-555B-434D-90F5-3C717571FA30}" type="presOf" srcId="{28393D47-2DA7-4545-B959-38DC6DD0228F}" destId="{B90E3149-5470-4928-A57F-B30CE73C8CDF}" srcOrd="0" destOrd="0" presId="urn:microsoft.com/office/officeart/2008/layout/RadialCluster"/>
    <dgm:cxn modelId="{C9513AB6-6039-47C6-9981-3155636AEB3F}" srcId="{FF05B5C9-BB56-4D0E-9F01-81BB2C386B97}" destId="{AB51E0A7-CA2A-4E91-AC03-FE01CA1F4EB1}" srcOrd="0" destOrd="0" parTransId="{A1C33B09-EE67-49BD-B2BB-A71808B6C671}" sibTransId="{A4FA3E38-E9BB-4F5B-ACA7-30922DE44C0B}"/>
    <dgm:cxn modelId="{9F00E426-62BF-4CEA-BF8E-FAB22358B09B}" type="presOf" srcId="{B401B9A4-AE2F-422D-9795-B925A79E5771}" destId="{3EE17A24-23DB-4220-8A0C-51C23F2299DD}" srcOrd="0" destOrd="0" presId="urn:microsoft.com/office/officeart/2008/layout/RadialCluster"/>
    <dgm:cxn modelId="{04577146-E555-4056-9BE2-2CE1A8A82232}" type="presOf" srcId="{A1C33B09-EE67-49BD-B2BB-A71808B6C671}" destId="{77C28584-1F58-4784-A06B-1ECA365C9E7B}" srcOrd="0" destOrd="0" presId="urn:microsoft.com/office/officeart/2008/layout/RadialCluster"/>
    <dgm:cxn modelId="{3C237CBF-BD48-4EEC-8433-64E83B1DF642}" srcId="{FF05B5C9-BB56-4D0E-9F01-81BB2C386B97}" destId="{B401B9A4-AE2F-422D-9795-B925A79E5771}" srcOrd="1" destOrd="0" parTransId="{28393D47-2DA7-4545-B959-38DC6DD0228F}" sibTransId="{4DDE70C5-4870-4572-937D-CF6A832CCC36}"/>
    <dgm:cxn modelId="{4741D658-57AE-4664-9294-B4B0B2178C45}" type="presOf" srcId="{FF05B5C9-BB56-4D0E-9F01-81BB2C386B97}" destId="{45AA524F-A88C-4791-8926-788405898865}" srcOrd="0" destOrd="0" presId="urn:microsoft.com/office/officeart/2008/layout/RadialCluster"/>
    <dgm:cxn modelId="{6F1AE019-C5DD-47A8-A2EE-307C760FEEF2}" type="presOf" srcId="{6E21863B-CCA5-45A1-AF6F-74E851D71BDE}" destId="{85E79A7F-C3A9-4255-AAC6-8CF994BE9469}" srcOrd="0" destOrd="0" presId="urn:microsoft.com/office/officeart/2008/layout/RadialCluster"/>
    <dgm:cxn modelId="{4566B29C-79B1-4287-84D3-E8FFBC233C17}" type="presParOf" srcId="{BE791F09-ACE0-4A49-9BC8-F6648A4FC4AD}" destId="{887EAA3B-4F27-471C-B29F-D5E1C1EC4D82}" srcOrd="0" destOrd="0" presId="urn:microsoft.com/office/officeart/2008/layout/RadialCluster"/>
    <dgm:cxn modelId="{7E9B23EA-38E4-4D36-BC9D-7AEDC4C656FC}" type="presParOf" srcId="{887EAA3B-4F27-471C-B29F-D5E1C1EC4D82}" destId="{45AA524F-A88C-4791-8926-788405898865}" srcOrd="0" destOrd="0" presId="urn:microsoft.com/office/officeart/2008/layout/RadialCluster"/>
    <dgm:cxn modelId="{231911FC-F38A-4AF1-93AE-1E430A84D5AB}" type="presParOf" srcId="{887EAA3B-4F27-471C-B29F-D5E1C1EC4D82}" destId="{77C28584-1F58-4784-A06B-1ECA365C9E7B}" srcOrd="1" destOrd="0" presId="urn:microsoft.com/office/officeart/2008/layout/RadialCluster"/>
    <dgm:cxn modelId="{A79433F3-6961-438A-9836-EA69C7ADDBA8}" type="presParOf" srcId="{887EAA3B-4F27-471C-B29F-D5E1C1EC4D82}" destId="{2D10C877-3982-42EA-84B3-518E5A360C18}" srcOrd="2" destOrd="0" presId="urn:microsoft.com/office/officeart/2008/layout/RadialCluster"/>
    <dgm:cxn modelId="{67E4AE84-2AB1-42AB-8A63-577CBAB84932}" type="presParOf" srcId="{887EAA3B-4F27-471C-B29F-D5E1C1EC4D82}" destId="{B90E3149-5470-4928-A57F-B30CE73C8CDF}" srcOrd="3" destOrd="0" presId="urn:microsoft.com/office/officeart/2008/layout/RadialCluster"/>
    <dgm:cxn modelId="{D9FCAC6D-B05E-4CBF-AB63-A4B6CB6947C7}" type="presParOf" srcId="{887EAA3B-4F27-471C-B29F-D5E1C1EC4D82}" destId="{3EE17A24-23DB-4220-8A0C-51C23F2299DD}" srcOrd="4" destOrd="0" presId="urn:microsoft.com/office/officeart/2008/layout/RadialCluster"/>
    <dgm:cxn modelId="{F01A34A3-ED1A-4A5E-A49B-6376B6AB681E}" type="presParOf" srcId="{887EAA3B-4F27-471C-B29F-D5E1C1EC4D82}" destId="{83E44145-E071-4C75-9C1A-92DE37F9F1E6}" srcOrd="5" destOrd="0" presId="urn:microsoft.com/office/officeart/2008/layout/RadialCluster"/>
    <dgm:cxn modelId="{B5563E17-361D-4672-BBAB-C37300F9BAAB}" type="presParOf" srcId="{887EAA3B-4F27-471C-B29F-D5E1C1EC4D82}" destId="{DBDC9F81-0648-413A-952D-2DE1B7CDEA9B}" srcOrd="6" destOrd="0" presId="urn:microsoft.com/office/officeart/2008/layout/RadialCluster"/>
    <dgm:cxn modelId="{535E44F2-59E3-4D04-8D10-891CF22741A3}" type="presParOf" srcId="{887EAA3B-4F27-471C-B29F-D5E1C1EC4D82}" destId="{85817761-AA17-43A5-8B4C-8DBD576B00FF}" srcOrd="7" destOrd="0" presId="urn:microsoft.com/office/officeart/2008/layout/RadialCluster"/>
    <dgm:cxn modelId="{BCFA1F1F-8A43-4B79-8DBE-F184BDE88C20}" type="presParOf" srcId="{887EAA3B-4F27-471C-B29F-D5E1C1EC4D82}" destId="{85E79A7F-C3A9-4255-AAC6-8CF994BE9469}" srcOrd="8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CF5366-B518-4E65-B6CE-8AEA45895942}" type="doc">
      <dgm:prSet loTypeId="urn:microsoft.com/office/officeart/2005/8/layout/vList4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F67E02-71A8-416D-BCDC-F80E682229BB}" type="pres">
      <dgm:prSet presAssocID="{88CF5366-B518-4E65-B6CE-8AEA45895942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E32CB2A7-D389-41C7-BDD4-92BD4840802D}" type="presOf" srcId="{88CF5366-B518-4E65-B6CE-8AEA45895942}" destId="{C7F67E02-71A8-416D-BCDC-F80E682229BB}" srcOrd="0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29EA48A-B5F1-4355-8373-A566C4D440E2}" type="doc">
      <dgm:prSet loTypeId="urn:microsoft.com/office/officeart/2008/layout/RadialCluster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B51E0A7-CA2A-4E91-AC03-FE01CA1F4EB1}">
      <dgm:prSet phldrT="[Text]" custT="1"/>
      <dgm:spPr/>
      <dgm:t>
        <a:bodyPr/>
        <a:lstStyle/>
        <a:p>
          <a:r>
            <a:rPr lang="en-IE" sz="1800" dirty="0" smtClean="0"/>
            <a:t>FUT</a:t>
          </a:r>
          <a:endParaRPr lang="en-US" sz="1800" dirty="0"/>
        </a:p>
      </dgm:t>
    </dgm:pt>
    <dgm:pt modelId="{A1C33B09-EE67-49BD-B2BB-A71808B6C671}" type="parTrans" cxnId="{C9513AB6-6039-47C6-9981-3155636AEB3F}">
      <dgm:prSet/>
      <dgm:spPr/>
      <dgm:t>
        <a:bodyPr/>
        <a:lstStyle/>
        <a:p>
          <a:endParaRPr lang="en-US"/>
        </a:p>
      </dgm:t>
    </dgm:pt>
    <dgm:pt modelId="{A4FA3E38-E9BB-4F5B-ACA7-30922DE44C0B}" type="sibTrans" cxnId="{C9513AB6-6039-47C6-9981-3155636AEB3F}">
      <dgm:prSet/>
      <dgm:spPr/>
      <dgm:t>
        <a:bodyPr/>
        <a:lstStyle/>
        <a:p>
          <a:endParaRPr lang="en-US"/>
        </a:p>
      </dgm:t>
    </dgm:pt>
    <dgm:pt modelId="{B401B9A4-AE2F-422D-9795-B925A79E5771}">
      <dgm:prSet phldrT="[Text]" custT="1"/>
      <dgm:spPr/>
      <dgm:t>
        <a:bodyPr/>
        <a:lstStyle/>
        <a:p>
          <a:r>
            <a:rPr lang="en-IE" sz="1800" dirty="0" smtClean="0"/>
            <a:t>DEV</a:t>
          </a:r>
          <a:endParaRPr lang="en-US" sz="1800" dirty="0"/>
        </a:p>
      </dgm:t>
    </dgm:pt>
    <dgm:pt modelId="{28393D47-2DA7-4545-B959-38DC6DD0228F}" type="parTrans" cxnId="{3C237CBF-BD48-4EEC-8433-64E83B1DF642}">
      <dgm:prSet/>
      <dgm:spPr/>
      <dgm:t>
        <a:bodyPr/>
        <a:lstStyle/>
        <a:p>
          <a:endParaRPr lang="en-US"/>
        </a:p>
      </dgm:t>
    </dgm:pt>
    <dgm:pt modelId="{4DDE70C5-4870-4572-937D-CF6A832CCC36}" type="sibTrans" cxnId="{3C237CBF-BD48-4EEC-8433-64E83B1DF642}">
      <dgm:prSet/>
      <dgm:spPr/>
      <dgm:t>
        <a:bodyPr/>
        <a:lstStyle/>
        <a:p>
          <a:endParaRPr lang="en-US"/>
        </a:p>
      </dgm:t>
    </dgm:pt>
    <dgm:pt modelId="{1228CD08-3F28-4F77-8D46-57AC393764BE}">
      <dgm:prSet phldrT="[Text]" custT="1"/>
      <dgm:spPr/>
      <dgm:t>
        <a:bodyPr/>
        <a:lstStyle/>
        <a:p>
          <a:r>
            <a:rPr lang="en-IE" sz="1800" dirty="0" smtClean="0"/>
            <a:t>ITG</a:t>
          </a:r>
          <a:endParaRPr lang="en-US" sz="1800" dirty="0"/>
        </a:p>
      </dgm:t>
    </dgm:pt>
    <dgm:pt modelId="{A5315332-290E-4C8F-91CC-49ADACF47FBB}" type="parTrans" cxnId="{8B1EB873-2F19-473A-9A80-E51120A29492}">
      <dgm:prSet/>
      <dgm:spPr/>
      <dgm:t>
        <a:bodyPr/>
        <a:lstStyle/>
        <a:p>
          <a:endParaRPr lang="en-US"/>
        </a:p>
      </dgm:t>
    </dgm:pt>
    <dgm:pt modelId="{BD2C7AB9-88B7-46C7-8ECA-6B184F930A4A}" type="sibTrans" cxnId="{8B1EB873-2F19-473A-9A80-E51120A29492}">
      <dgm:prSet/>
      <dgm:spPr/>
      <dgm:t>
        <a:bodyPr/>
        <a:lstStyle/>
        <a:p>
          <a:endParaRPr lang="en-US"/>
        </a:p>
      </dgm:t>
    </dgm:pt>
    <dgm:pt modelId="{BE791F09-ACE0-4A49-9BC8-F6648A4FC4AD}" type="pres">
      <dgm:prSet presAssocID="{429EA48A-B5F1-4355-8373-A566C4D440E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AA838AF-1943-4F26-8129-1E2BD6F4B4E9}" type="pres">
      <dgm:prSet presAssocID="{AB51E0A7-CA2A-4E91-AC03-FE01CA1F4EB1}" presName="singleCycle" presStyleCnt="0"/>
      <dgm:spPr/>
    </dgm:pt>
    <dgm:pt modelId="{24EC478B-22B5-412C-BAC0-C166B1F2A397}" type="pres">
      <dgm:prSet presAssocID="{AB51E0A7-CA2A-4E91-AC03-FE01CA1F4EB1}" presName="singleCenter" presStyleLbl="node1" presStyleIdx="0" presStyleCnt="3" custScaleX="120882" custScaleY="112644" custLinFactNeighborX="-1712" custLinFactNeighborY="-10104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B90E3149-5470-4928-A57F-B30CE73C8CDF}" type="pres">
      <dgm:prSet presAssocID="{28393D47-2DA7-4545-B959-38DC6DD0228F}" presName="Name56" presStyleLbl="parChTrans1D2" presStyleIdx="0" presStyleCnt="2"/>
      <dgm:spPr/>
      <dgm:t>
        <a:bodyPr/>
        <a:lstStyle/>
        <a:p>
          <a:endParaRPr lang="en-US"/>
        </a:p>
      </dgm:t>
    </dgm:pt>
    <dgm:pt modelId="{3EE17A24-23DB-4220-8A0C-51C23F2299DD}" type="pres">
      <dgm:prSet presAssocID="{B401B9A4-AE2F-422D-9795-B925A79E5771}" presName="text0" presStyleLbl="node1" presStyleIdx="1" presStyleCnt="3" custScaleX="179428" custScaleY="175982" custRadScaleRad="167900" custRadScaleInc="-11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E44145-E071-4C75-9C1A-92DE37F9F1E6}" type="pres">
      <dgm:prSet presAssocID="{A5315332-290E-4C8F-91CC-49ADACF47FBB}" presName="Name56" presStyleLbl="parChTrans1D2" presStyleIdx="1" presStyleCnt="2"/>
      <dgm:spPr/>
      <dgm:t>
        <a:bodyPr/>
        <a:lstStyle/>
        <a:p>
          <a:endParaRPr lang="en-US"/>
        </a:p>
      </dgm:t>
    </dgm:pt>
    <dgm:pt modelId="{DBDC9F81-0648-413A-952D-2DE1B7CDEA9B}" type="pres">
      <dgm:prSet presAssocID="{1228CD08-3F28-4F77-8D46-57AC393764BE}" presName="text0" presStyleLbl="node1" presStyleIdx="2" presStyleCnt="3" custScaleX="203686" custScaleY="161739" custRadScaleRad="127096" custRadScaleInc="8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07150B-6D2D-4D58-86D9-92F15AF65465}" type="presOf" srcId="{1228CD08-3F28-4F77-8D46-57AC393764BE}" destId="{DBDC9F81-0648-413A-952D-2DE1B7CDEA9B}" srcOrd="0" destOrd="0" presId="urn:microsoft.com/office/officeart/2008/layout/RadialCluster"/>
    <dgm:cxn modelId="{BC1AADE2-763F-4DB0-8E7F-D1918856B66A}" type="presOf" srcId="{28393D47-2DA7-4545-B959-38DC6DD0228F}" destId="{B90E3149-5470-4928-A57F-B30CE73C8CDF}" srcOrd="0" destOrd="0" presId="urn:microsoft.com/office/officeart/2008/layout/RadialCluster"/>
    <dgm:cxn modelId="{2253556F-B21C-481E-B2A4-B5714DB98378}" type="presOf" srcId="{B401B9A4-AE2F-422D-9795-B925A79E5771}" destId="{3EE17A24-23DB-4220-8A0C-51C23F2299DD}" srcOrd="0" destOrd="0" presId="urn:microsoft.com/office/officeart/2008/layout/RadialCluster"/>
    <dgm:cxn modelId="{03DD260E-D438-45AC-8C4A-C570601D2B1D}" type="presOf" srcId="{429EA48A-B5F1-4355-8373-A566C4D440E2}" destId="{BE791F09-ACE0-4A49-9BC8-F6648A4FC4AD}" srcOrd="0" destOrd="0" presId="urn:microsoft.com/office/officeart/2008/layout/RadialCluster"/>
    <dgm:cxn modelId="{C9513AB6-6039-47C6-9981-3155636AEB3F}" srcId="{429EA48A-B5F1-4355-8373-A566C4D440E2}" destId="{AB51E0A7-CA2A-4E91-AC03-FE01CA1F4EB1}" srcOrd="0" destOrd="0" parTransId="{A1C33B09-EE67-49BD-B2BB-A71808B6C671}" sibTransId="{A4FA3E38-E9BB-4F5B-ACA7-30922DE44C0B}"/>
    <dgm:cxn modelId="{3C237CBF-BD48-4EEC-8433-64E83B1DF642}" srcId="{AB51E0A7-CA2A-4E91-AC03-FE01CA1F4EB1}" destId="{B401B9A4-AE2F-422D-9795-B925A79E5771}" srcOrd="0" destOrd="0" parTransId="{28393D47-2DA7-4545-B959-38DC6DD0228F}" sibTransId="{4DDE70C5-4870-4572-937D-CF6A832CCC36}"/>
    <dgm:cxn modelId="{50867C68-9690-4BCA-9773-C56642780D23}" type="presOf" srcId="{A5315332-290E-4C8F-91CC-49ADACF47FBB}" destId="{83E44145-E071-4C75-9C1A-92DE37F9F1E6}" srcOrd="0" destOrd="0" presId="urn:microsoft.com/office/officeart/2008/layout/RadialCluster"/>
    <dgm:cxn modelId="{F9B0C580-DCFC-4322-93FD-A7A64D49A381}" type="presOf" srcId="{AB51E0A7-CA2A-4E91-AC03-FE01CA1F4EB1}" destId="{24EC478B-22B5-412C-BAC0-C166B1F2A397}" srcOrd="0" destOrd="0" presId="urn:microsoft.com/office/officeart/2008/layout/RadialCluster"/>
    <dgm:cxn modelId="{8B1EB873-2F19-473A-9A80-E51120A29492}" srcId="{AB51E0A7-CA2A-4E91-AC03-FE01CA1F4EB1}" destId="{1228CD08-3F28-4F77-8D46-57AC393764BE}" srcOrd="1" destOrd="0" parTransId="{A5315332-290E-4C8F-91CC-49ADACF47FBB}" sibTransId="{BD2C7AB9-88B7-46C7-8ECA-6B184F930A4A}"/>
    <dgm:cxn modelId="{C6A85F3C-5077-445B-A7EA-E62349E3463D}" type="presParOf" srcId="{BE791F09-ACE0-4A49-9BC8-F6648A4FC4AD}" destId="{1AA838AF-1943-4F26-8129-1E2BD6F4B4E9}" srcOrd="0" destOrd="0" presId="urn:microsoft.com/office/officeart/2008/layout/RadialCluster"/>
    <dgm:cxn modelId="{C70A5328-1CE5-4E3C-AE3D-48C8609EA80D}" type="presParOf" srcId="{1AA838AF-1943-4F26-8129-1E2BD6F4B4E9}" destId="{24EC478B-22B5-412C-BAC0-C166B1F2A397}" srcOrd="0" destOrd="0" presId="urn:microsoft.com/office/officeart/2008/layout/RadialCluster"/>
    <dgm:cxn modelId="{DF2DD8F1-AD98-4495-86CB-AC253924083C}" type="presParOf" srcId="{1AA838AF-1943-4F26-8129-1E2BD6F4B4E9}" destId="{B90E3149-5470-4928-A57F-B30CE73C8CDF}" srcOrd="1" destOrd="0" presId="urn:microsoft.com/office/officeart/2008/layout/RadialCluster"/>
    <dgm:cxn modelId="{6F66C1F3-3845-42CE-AE07-16F961BA2016}" type="presParOf" srcId="{1AA838AF-1943-4F26-8129-1E2BD6F4B4E9}" destId="{3EE17A24-23DB-4220-8A0C-51C23F2299DD}" srcOrd="2" destOrd="0" presId="urn:microsoft.com/office/officeart/2008/layout/RadialCluster"/>
    <dgm:cxn modelId="{66A406C7-3F32-42D8-B979-5A6BE252DC8E}" type="presParOf" srcId="{1AA838AF-1943-4F26-8129-1E2BD6F4B4E9}" destId="{83E44145-E071-4C75-9C1A-92DE37F9F1E6}" srcOrd="3" destOrd="0" presId="urn:microsoft.com/office/officeart/2008/layout/RadialCluster"/>
    <dgm:cxn modelId="{7326DDD1-8E6F-45F1-AA04-910A9198F446}" type="presParOf" srcId="{1AA838AF-1943-4F26-8129-1E2BD6F4B4E9}" destId="{DBDC9F81-0648-413A-952D-2DE1B7CDEA9B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29EA48A-B5F1-4355-8373-A566C4D440E2}" type="doc">
      <dgm:prSet loTypeId="urn:microsoft.com/office/officeart/2008/layout/RadialCluster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F05B5C9-BB56-4D0E-9F01-81BB2C386B97}">
      <dgm:prSet phldrT="[Text]" custT="1"/>
      <dgm:spPr>
        <a:ln>
          <a:solidFill>
            <a:schemeClr val="tx2">
              <a:lumMod val="25000"/>
            </a:schemeClr>
          </a:solidFill>
        </a:ln>
      </dgm:spPr>
      <dgm:t>
        <a:bodyPr/>
        <a:lstStyle/>
        <a:p>
          <a:pPr algn="ctr"/>
          <a:r>
            <a:rPr lang="en-IE" sz="1600" dirty="0" smtClean="0"/>
            <a:t>Jenkins Master</a:t>
          </a:r>
        </a:p>
      </dgm:t>
    </dgm:pt>
    <dgm:pt modelId="{FE48B0BF-01F4-4B8B-A8B9-D88F6B479CEB}" type="parTrans" cxnId="{5FF0F7A8-3B40-458A-97C7-A33914B757B4}">
      <dgm:prSet/>
      <dgm:spPr/>
      <dgm:t>
        <a:bodyPr/>
        <a:lstStyle/>
        <a:p>
          <a:endParaRPr lang="en-US"/>
        </a:p>
      </dgm:t>
    </dgm:pt>
    <dgm:pt modelId="{0F094AFF-9082-45CC-BC53-F3009EF2CACB}" type="sibTrans" cxnId="{5FF0F7A8-3B40-458A-97C7-A33914B757B4}">
      <dgm:prSet/>
      <dgm:spPr/>
      <dgm:t>
        <a:bodyPr/>
        <a:lstStyle/>
        <a:p>
          <a:endParaRPr lang="en-US"/>
        </a:p>
      </dgm:t>
    </dgm:pt>
    <dgm:pt modelId="{AB51E0A7-CA2A-4E91-AC03-FE01CA1F4EB1}">
      <dgm:prSet phldrT="[Text]"/>
      <dgm:spPr>
        <a:ln>
          <a:solidFill>
            <a:schemeClr val="tx2">
              <a:lumMod val="25000"/>
            </a:schemeClr>
          </a:solidFill>
        </a:ln>
      </dgm:spPr>
      <dgm:t>
        <a:bodyPr/>
        <a:lstStyle/>
        <a:p>
          <a:r>
            <a:rPr lang="en-IE" dirty="0" smtClean="0"/>
            <a:t>Jenkins Slave</a:t>
          </a:r>
          <a:endParaRPr lang="en-US" dirty="0"/>
        </a:p>
      </dgm:t>
    </dgm:pt>
    <dgm:pt modelId="{A1C33B09-EE67-49BD-B2BB-A71808B6C671}" type="parTrans" cxnId="{C9513AB6-6039-47C6-9981-3155636AEB3F}">
      <dgm:prSet/>
      <dgm:spPr/>
      <dgm:t>
        <a:bodyPr/>
        <a:lstStyle/>
        <a:p>
          <a:endParaRPr lang="en-US"/>
        </a:p>
      </dgm:t>
    </dgm:pt>
    <dgm:pt modelId="{A4FA3E38-E9BB-4F5B-ACA7-30922DE44C0B}" type="sibTrans" cxnId="{C9513AB6-6039-47C6-9981-3155636AEB3F}">
      <dgm:prSet/>
      <dgm:spPr/>
      <dgm:t>
        <a:bodyPr/>
        <a:lstStyle/>
        <a:p>
          <a:endParaRPr lang="en-US"/>
        </a:p>
      </dgm:t>
    </dgm:pt>
    <dgm:pt modelId="{B401B9A4-AE2F-422D-9795-B925A79E5771}">
      <dgm:prSet phldrT="[Text]"/>
      <dgm:spPr>
        <a:ln>
          <a:solidFill>
            <a:schemeClr val="tx2">
              <a:lumMod val="25000"/>
            </a:schemeClr>
          </a:solidFill>
        </a:ln>
      </dgm:spPr>
      <dgm:t>
        <a:bodyPr/>
        <a:lstStyle/>
        <a:p>
          <a:r>
            <a:rPr lang="en-IE" dirty="0" smtClean="0"/>
            <a:t>Jenkins Slave</a:t>
          </a:r>
          <a:endParaRPr lang="en-US" dirty="0"/>
        </a:p>
      </dgm:t>
    </dgm:pt>
    <dgm:pt modelId="{28393D47-2DA7-4545-B959-38DC6DD0228F}" type="parTrans" cxnId="{3C237CBF-BD48-4EEC-8433-64E83B1DF642}">
      <dgm:prSet/>
      <dgm:spPr/>
      <dgm:t>
        <a:bodyPr/>
        <a:lstStyle/>
        <a:p>
          <a:endParaRPr lang="en-US"/>
        </a:p>
      </dgm:t>
    </dgm:pt>
    <dgm:pt modelId="{4DDE70C5-4870-4572-937D-CF6A832CCC36}" type="sibTrans" cxnId="{3C237CBF-BD48-4EEC-8433-64E83B1DF642}">
      <dgm:prSet/>
      <dgm:spPr/>
      <dgm:t>
        <a:bodyPr/>
        <a:lstStyle/>
        <a:p>
          <a:endParaRPr lang="en-US"/>
        </a:p>
      </dgm:t>
    </dgm:pt>
    <dgm:pt modelId="{1228CD08-3F28-4F77-8D46-57AC393764BE}">
      <dgm:prSet phldrT="[Text]"/>
      <dgm:spPr>
        <a:ln>
          <a:solidFill>
            <a:schemeClr val="tx2">
              <a:lumMod val="25000"/>
            </a:schemeClr>
          </a:solidFill>
        </a:ln>
      </dgm:spPr>
      <dgm:t>
        <a:bodyPr/>
        <a:lstStyle/>
        <a:p>
          <a:r>
            <a:rPr lang="en-IE" dirty="0" smtClean="0"/>
            <a:t>Jenkins Slave</a:t>
          </a:r>
          <a:endParaRPr lang="en-US" dirty="0"/>
        </a:p>
      </dgm:t>
    </dgm:pt>
    <dgm:pt modelId="{A5315332-290E-4C8F-91CC-49ADACF47FBB}" type="parTrans" cxnId="{8B1EB873-2F19-473A-9A80-E51120A29492}">
      <dgm:prSet/>
      <dgm:spPr/>
      <dgm:t>
        <a:bodyPr/>
        <a:lstStyle/>
        <a:p>
          <a:endParaRPr lang="en-US"/>
        </a:p>
      </dgm:t>
    </dgm:pt>
    <dgm:pt modelId="{BD2C7AB9-88B7-46C7-8ECA-6B184F930A4A}" type="sibTrans" cxnId="{8B1EB873-2F19-473A-9A80-E51120A29492}">
      <dgm:prSet/>
      <dgm:spPr/>
      <dgm:t>
        <a:bodyPr/>
        <a:lstStyle/>
        <a:p>
          <a:endParaRPr lang="en-US"/>
        </a:p>
      </dgm:t>
    </dgm:pt>
    <dgm:pt modelId="{4CA73D4E-E97D-415E-B910-5B658C9BF695}">
      <dgm:prSet phldrT="[Text]" custRadScaleRad="113608" custRadScaleInc="47912"/>
      <dgm:spPr/>
      <dgm:t>
        <a:bodyPr/>
        <a:lstStyle/>
        <a:p>
          <a:endParaRPr lang="en-US"/>
        </a:p>
      </dgm:t>
    </dgm:pt>
    <dgm:pt modelId="{1D3CFC72-6336-4FB1-860A-62140FF50518}" type="parTrans" cxnId="{957E665B-B058-4C6F-83C5-33D463DA8024}">
      <dgm:prSet/>
      <dgm:spPr/>
      <dgm:t>
        <a:bodyPr/>
        <a:lstStyle/>
        <a:p>
          <a:endParaRPr lang="en-US"/>
        </a:p>
      </dgm:t>
    </dgm:pt>
    <dgm:pt modelId="{476E8638-6A75-4396-84F8-2479A096124F}" type="sibTrans" cxnId="{957E665B-B058-4C6F-83C5-33D463DA8024}">
      <dgm:prSet/>
      <dgm:spPr/>
      <dgm:t>
        <a:bodyPr/>
        <a:lstStyle/>
        <a:p>
          <a:endParaRPr lang="en-US"/>
        </a:p>
      </dgm:t>
    </dgm:pt>
    <dgm:pt modelId="{6E21863B-CCA5-45A1-AF6F-74E851D71BDE}">
      <dgm:prSet/>
      <dgm:spPr>
        <a:ln>
          <a:solidFill>
            <a:schemeClr val="tx2">
              <a:lumMod val="25000"/>
            </a:schemeClr>
          </a:solidFill>
        </a:ln>
      </dgm:spPr>
      <dgm:t>
        <a:bodyPr/>
        <a:lstStyle/>
        <a:p>
          <a:r>
            <a:rPr lang="en-IE" dirty="0" err="1" smtClean="0"/>
            <a:t>Docker</a:t>
          </a:r>
          <a:endParaRPr lang="en-IE" dirty="0" smtClean="0"/>
        </a:p>
        <a:p>
          <a:r>
            <a:rPr lang="en-IE" dirty="0" smtClean="0"/>
            <a:t>Registry</a:t>
          </a:r>
        </a:p>
      </dgm:t>
    </dgm:pt>
    <dgm:pt modelId="{49AB4CA2-4315-4B2F-A078-50D64A4BCA7E}" type="parTrans" cxnId="{03327F5C-0707-4F13-87F6-500289099D39}">
      <dgm:prSet/>
      <dgm:spPr/>
      <dgm:t>
        <a:bodyPr/>
        <a:lstStyle/>
        <a:p>
          <a:endParaRPr lang="en-US"/>
        </a:p>
      </dgm:t>
    </dgm:pt>
    <dgm:pt modelId="{E2B94582-9723-4FB1-AB11-B87EB7F3C0A5}" type="sibTrans" cxnId="{03327F5C-0707-4F13-87F6-500289099D39}">
      <dgm:prSet/>
      <dgm:spPr/>
      <dgm:t>
        <a:bodyPr/>
        <a:lstStyle/>
        <a:p>
          <a:endParaRPr lang="en-US"/>
        </a:p>
      </dgm:t>
    </dgm:pt>
    <dgm:pt modelId="{BE791F09-ACE0-4A49-9BC8-F6648A4FC4AD}" type="pres">
      <dgm:prSet presAssocID="{429EA48A-B5F1-4355-8373-A566C4D440E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87EAA3B-4F27-471C-B29F-D5E1C1EC4D82}" type="pres">
      <dgm:prSet presAssocID="{FF05B5C9-BB56-4D0E-9F01-81BB2C386B97}" presName="singleCycle" presStyleCnt="0"/>
      <dgm:spPr/>
    </dgm:pt>
    <dgm:pt modelId="{45AA524F-A88C-4791-8926-788405898865}" type="pres">
      <dgm:prSet presAssocID="{FF05B5C9-BB56-4D0E-9F01-81BB2C386B97}" presName="singleCenter" presStyleLbl="node1" presStyleIdx="0" presStyleCnt="5" custScaleX="108291" custScaleY="115537" custLinFactNeighborX="-22055" custLinFactNeighborY="-12500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77C28584-1F58-4784-A06B-1ECA365C9E7B}" type="pres">
      <dgm:prSet presAssocID="{A1C33B09-EE67-49BD-B2BB-A71808B6C671}" presName="Name56" presStyleLbl="parChTrans1D2" presStyleIdx="0" presStyleCnt="4"/>
      <dgm:spPr/>
      <dgm:t>
        <a:bodyPr/>
        <a:lstStyle/>
        <a:p>
          <a:endParaRPr lang="en-US"/>
        </a:p>
      </dgm:t>
    </dgm:pt>
    <dgm:pt modelId="{2D10C877-3982-42EA-84B3-518E5A360C18}" type="pres">
      <dgm:prSet presAssocID="{AB51E0A7-CA2A-4E91-AC03-FE01CA1F4EB1}" presName="text0" presStyleLbl="node1" presStyleIdx="1" presStyleCnt="5" custRadScaleRad="113608" custRadScaleInc="479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0E3149-5470-4928-A57F-B30CE73C8CDF}" type="pres">
      <dgm:prSet presAssocID="{28393D47-2DA7-4545-B959-38DC6DD0228F}" presName="Name56" presStyleLbl="parChTrans1D2" presStyleIdx="1" presStyleCnt="4"/>
      <dgm:spPr/>
      <dgm:t>
        <a:bodyPr/>
        <a:lstStyle/>
        <a:p>
          <a:endParaRPr lang="en-US"/>
        </a:p>
      </dgm:t>
    </dgm:pt>
    <dgm:pt modelId="{3EE17A24-23DB-4220-8A0C-51C23F2299DD}" type="pres">
      <dgm:prSet presAssocID="{B401B9A4-AE2F-422D-9795-B925A79E5771}" presName="text0" presStyleLbl="node1" presStyleIdx="2" presStyleCnt="5" custRadScaleRad="60544" custRadScaleInc="1087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E44145-E071-4C75-9C1A-92DE37F9F1E6}" type="pres">
      <dgm:prSet presAssocID="{A5315332-290E-4C8F-91CC-49ADACF47FBB}" presName="Name56" presStyleLbl="parChTrans1D2" presStyleIdx="2" presStyleCnt="4"/>
      <dgm:spPr/>
      <dgm:t>
        <a:bodyPr/>
        <a:lstStyle/>
        <a:p>
          <a:endParaRPr lang="en-US"/>
        </a:p>
      </dgm:t>
    </dgm:pt>
    <dgm:pt modelId="{DBDC9F81-0648-413A-952D-2DE1B7CDEA9B}" type="pres">
      <dgm:prSet presAssocID="{1228CD08-3F28-4F77-8D46-57AC393764BE}" presName="text0" presStyleLbl="node1" presStyleIdx="3" presStyleCnt="5" custRadScaleRad="48361" custRadScaleInc="-2770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817761-AA17-43A5-8B4C-8DBD576B00FF}" type="pres">
      <dgm:prSet presAssocID="{49AB4CA2-4315-4B2F-A078-50D64A4BCA7E}" presName="Name56" presStyleLbl="parChTrans1D2" presStyleIdx="3" presStyleCnt="4"/>
      <dgm:spPr/>
      <dgm:t>
        <a:bodyPr/>
        <a:lstStyle/>
        <a:p>
          <a:endParaRPr lang="en-US"/>
        </a:p>
      </dgm:t>
    </dgm:pt>
    <dgm:pt modelId="{85E79A7F-C3A9-4255-AAC6-8CF994BE9469}" type="pres">
      <dgm:prSet presAssocID="{6E21863B-CCA5-45A1-AF6F-74E851D71BDE}" presName="text0" presStyleLbl="node1" presStyleIdx="4" presStyleCnt="5" custRadScaleRad="96994" custRadScaleInc="-1377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1EB873-2F19-473A-9A80-E51120A29492}" srcId="{FF05B5C9-BB56-4D0E-9F01-81BB2C386B97}" destId="{1228CD08-3F28-4F77-8D46-57AC393764BE}" srcOrd="2" destOrd="0" parTransId="{A5315332-290E-4C8F-91CC-49ADACF47FBB}" sibTransId="{BD2C7AB9-88B7-46C7-8ECA-6B184F930A4A}"/>
    <dgm:cxn modelId="{5FF0F7A8-3B40-458A-97C7-A33914B757B4}" srcId="{429EA48A-B5F1-4355-8373-A566C4D440E2}" destId="{FF05B5C9-BB56-4D0E-9F01-81BB2C386B97}" srcOrd="0" destOrd="0" parTransId="{FE48B0BF-01F4-4B8B-A8B9-D88F6B479CEB}" sibTransId="{0F094AFF-9082-45CC-BC53-F3009EF2CACB}"/>
    <dgm:cxn modelId="{676F2445-BA75-45D3-B2D6-16A5B8A62F67}" type="presOf" srcId="{A1C33B09-EE67-49BD-B2BB-A71808B6C671}" destId="{77C28584-1F58-4784-A06B-1ECA365C9E7B}" srcOrd="0" destOrd="0" presId="urn:microsoft.com/office/officeart/2008/layout/RadialCluster"/>
    <dgm:cxn modelId="{823E18F4-77EC-40DC-B9CC-6CAD4C18A734}" type="presOf" srcId="{FF05B5C9-BB56-4D0E-9F01-81BB2C386B97}" destId="{45AA524F-A88C-4791-8926-788405898865}" srcOrd="0" destOrd="0" presId="urn:microsoft.com/office/officeart/2008/layout/RadialCluster"/>
    <dgm:cxn modelId="{85F1F5D4-0E5C-4223-AF17-FF3A9492D0E9}" type="presOf" srcId="{1228CD08-3F28-4F77-8D46-57AC393764BE}" destId="{DBDC9F81-0648-413A-952D-2DE1B7CDEA9B}" srcOrd="0" destOrd="0" presId="urn:microsoft.com/office/officeart/2008/layout/RadialCluster"/>
    <dgm:cxn modelId="{5901E1E0-381F-4E29-8729-448BE4BFC36E}" type="presOf" srcId="{AB51E0A7-CA2A-4E91-AC03-FE01CA1F4EB1}" destId="{2D10C877-3982-42EA-84B3-518E5A360C18}" srcOrd="0" destOrd="0" presId="urn:microsoft.com/office/officeart/2008/layout/RadialCluster"/>
    <dgm:cxn modelId="{9F7D52D9-B6EB-4A31-AED6-53232A41790A}" type="presOf" srcId="{49AB4CA2-4315-4B2F-A078-50D64A4BCA7E}" destId="{85817761-AA17-43A5-8B4C-8DBD576B00FF}" srcOrd="0" destOrd="0" presId="urn:microsoft.com/office/officeart/2008/layout/RadialCluster"/>
    <dgm:cxn modelId="{CC3301C3-C3BC-48FD-BA06-3BF57389A84E}" type="presOf" srcId="{28393D47-2DA7-4545-B959-38DC6DD0228F}" destId="{B90E3149-5470-4928-A57F-B30CE73C8CDF}" srcOrd="0" destOrd="0" presId="urn:microsoft.com/office/officeart/2008/layout/RadialCluster"/>
    <dgm:cxn modelId="{03327F5C-0707-4F13-87F6-500289099D39}" srcId="{FF05B5C9-BB56-4D0E-9F01-81BB2C386B97}" destId="{6E21863B-CCA5-45A1-AF6F-74E851D71BDE}" srcOrd="3" destOrd="0" parTransId="{49AB4CA2-4315-4B2F-A078-50D64A4BCA7E}" sibTransId="{E2B94582-9723-4FB1-AB11-B87EB7F3C0A5}"/>
    <dgm:cxn modelId="{957E665B-B058-4C6F-83C5-33D463DA8024}" srcId="{429EA48A-B5F1-4355-8373-A566C4D440E2}" destId="{4CA73D4E-E97D-415E-B910-5B658C9BF695}" srcOrd="1" destOrd="0" parTransId="{1D3CFC72-6336-4FB1-860A-62140FF50518}" sibTransId="{476E8638-6A75-4396-84F8-2479A096124F}"/>
    <dgm:cxn modelId="{BCA8F53D-DDD7-4767-B3D9-4AE757D636C4}" type="presOf" srcId="{429EA48A-B5F1-4355-8373-A566C4D440E2}" destId="{BE791F09-ACE0-4A49-9BC8-F6648A4FC4AD}" srcOrd="0" destOrd="0" presId="urn:microsoft.com/office/officeart/2008/layout/RadialCluster"/>
    <dgm:cxn modelId="{C9513AB6-6039-47C6-9981-3155636AEB3F}" srcId="{FF05B5C9-BB56-4D0E-9F01-81BB2C386B97}" destId="{AB51E0A7-CA2A-4E91-AC03-FE01CA1F4EB1}" srcOrd="0" destOrd="0" parTransId="{A1C33B09-EE67-49BD-B2BB-A71808B6C671}" sibTransId="{A4FA3E38-E9BB-4F5B-ACA7-30922DE44C0B}"/>
    <dgm:cxn modelId="{3C237CBF-BD48-4EEC-8433-64E83B1DF642}" srcId="{FF05B5C9-BB56-4D0E-9F01-81BB2C386B97}" destId="{B401B9A4-AE2F-422D-9795-B925A79E5771}" srcOrd="1" destOrd="0" parTransId="{28393D47-2DA7-4545-B959-38DC6DD0228F}" sibTransId="{4DDE70C5-4870-4572-937D-CF6A832CCC36}"/>
    <dgm:cxn modelId="{116760D2-F056-43C3-B5D2-C8CC8CC08A03}" type="presOf" srcId="{6E21863B-CCA5-45A1-AF6F-74E851D71BDE}" destId="{85E79A7F-C3A9-4255-AAC6-8CF994BE9469}" srcOrd="0" destOrd="0" presId="urn:microsoft.com/office/officeart/2008/layout/RadialCluster"/>
    <dgm:cxn modelId="{A59707D4-362F-41DA-BFB5-0BAD4CE841A6}" type="presOf" srcId="{A5315332-290E-4C8F-91CC-49ADACF47FBB}" destId="{83E44145-E071-4C75-9C1A-92DE37F9F1E6}" srcOrd="0" destOrd="0" presId="urn:microsoft.com/office/officeart/2008/layout/RadialCluster"/>
    <dgm:cxn modelId="{8A7A00B9-CAB5-448E-8A56-5FAFD18142BE}" type="presOf" srcId="{B401B9A4-AE2F-422D-9795-B925A79E5771}" destId="{3EE17A24-23DB-4220-8A0C-51C23F2299DD}" srcOrd="0" destOrd="0" presId="urn:microsoft.com/office/officeart/2008/layout/RadialCluster"/>
    <dgm:cxn modelId="{F74B54FF-BCBF-4714-8427-7D8065895730}" type="presParOf" srcId="{BE791F09-ACE0-4A49-9BC8-F6648A4FC4AD}" destId="{887EAA3B-4F27-471C-B29F-D5E1C1EC4D82}" srcOrd="0" destOrd="0" presId="urn:microsoft.com/office/officeart/2008/layout/RadialCluster"/>
    <dgm:cxn modelId="{FB171032-9796-4660-BB2F-CC9E5486BC87}" type="presParOf" srcId="{887EAA3B-4F27-471C-B29F-D5E1C1EC4D82}" destId="{45AA524F-A88C-4791-8926-788405898865}" srcOrd="0" destOrd="0" presId="urn:microsoft.com/office/officeart/2008/layout/RadialCluster"/>
    <dgm:cxn modelId="{1D000FF9-BC17-4D62-AE28-34867A58B211}" type="presParOf" srcId="{887EAA3B-4F27-471C-B29F-D5E1C1EC4D82}" destId="{77C28584-1F58-4784-A06B-1ECA365C9E7B}" srcOrd="1" destOrd="0" presId="urn:microsoft.com/office/officeart/2008/layout/RadialCluster"/>
    <dgm:cxn modelId="{B7F81A5C-B99B-4324-BFCA-948560AF88F3}" type="presParOf" srcId="{887EAA3B-4F27-471C-B29F-D5E1C1EC4D82}" destId="{2D10C877-3982-42EA-84B3-518E5A360C18}" srcOrd="2" destOrd="0" presId="urn:microsoft.com/office/officeart/2008/layout/RadialCluster"/>
    <dgm:cxn modelId="{BA7DFA62-5DE2-4B8F-9073-14EAAB1FBE19}" type="presParOf" srcId="{887EAA3B-4F27-471C-B29F-D5E1C1EC4D82}" destId="{B90E3149-5470-4928-A57F-B30CE73C8CDF}" srcOrd="3" destOrd="0" presId="urn:microsoft.com/office/officeart/2008/layout/RadialCluster"/>
    <dgm:cxn modelId="{57074C53-5A4A-4A7C-A65C-D32FA6315B58}" type="presParOf" srcId="{887EAA3B-4F27-471C-B29F-D5E1C1EC4D82}" destId="{3EE17A24-23DB-4220-8A0C-51C23F2299DD}" srcOrd="4" destOrd="0" presId="urn:microsoft.com/office/officeart/2008/layout/RadialCluster"/>
    <dgm:cxn modelId="{D0047760-6F85-4CE4-9BF3-C4360E59650C}" type="presParOf" srcId="{887EAA3B-4F27-471C-B29F-D5E1C1EC4D82}" destId="{83E44145-E071-4C75-9C1A-92DE37F9F1E6}" srcOrd="5" destOrd="0" presId="urn:microsoft.com/office/officeart/2008/layout/RadialCluster"/>
    <dgm:cxn modelId="{53DCD624-52DF-4ABB-8792-8759EADA18A7}" type="presParOf" srcId="{887EAA3B-4F27-471C-B29F-D5E1C1EC4D82}" destId="{DBDC9F81-0648-413A-952D-2DE1B7CDEA9B}" srcOrd="6" destOrd="0" presId="urn:microsoft.com/office/officeart/2008/layout/RadialCluster"/>
    <dgm:cxn modelId="{580E8FF5-92DA-4F03-9D68-DDDF7AEE2F64}" type="presParOf" srcId="{887EAA3B-4F27-471C-B29F-D5E1C1EC4D82}" destId="{85817761-AA17-43A5-8B4C-8DBD576B00FF}" srcOrd="7" destOrd="0" presId="urn:microsoft.com/office/officeart/2008/layout/RadialCluster"/>
    <dgm:cxn modelId="{ADF0AB52-C5A5-4DB6-8D20-BE95E5B5A3D3}" type="presParOf" srcId="{887EAA3B-4F27-471C-B29F-D5E1C1EC4D82}" destId="{85E79A7F-C3A9-4255-AAC6-8CF994BE9469}" srcOrd="8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AA524F-A88C-4791-8926-788405898865}">
      <dsp:nvSpPr>
        <dsp:cNvPr id="0" name=""/>
        <dsp:cNvSpPr/>
      </dsp:nvSpPr>
      <dsp:spPr>
        <a:xfrm>
          <a:off x="540032" y="1185918"/>
          <a:ext cx="1087122" cy="11598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600" kern="1200" dirty="0" smtClean="0"/>
            <a:t>Jenkins Master</a:t>
          </a:r>
        </a:p>
      </dsp:txBody>
      <dsp:txXfrm>
        <a:off x="593101" y="1238987"/>
        <a:ext cx="980984" cy="1053726"/>
      </dsp:txXfrm>
    </dsp:sp>
    <dsp:sp modelId="{77C28584-1F58-4784-A06B-1ECA365C9E7B}">
      <dsp:nvSpPr>
        <dsp:cNvPr id="0" name=""/>
        <dsp:cNvSpPr/>
      </dsp:nvSpPr>
      <dsp:spPr>
        <a:xfrm rot="19007318">
          <a:off x="1577356" y="1129470"/>
          <a:ext cx="36728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6728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10C877-3982-42EA-84B3-518E5A360C18}">
      <dsp:nvSpPr>
        <dsp:cNvPr id="0" name=""/>
        <dsp:cNvSpPr/>
      </dsp:nvSpPr>
      <dsp:spPr>
        <a:xfrm>
          <a:off x="1894844" y="351493"/>
          <a:ext cx="672606" cy="6726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200" kern="1200" dirty="0" smtClean="0"/>
            <a:t>Jenkins Slave</a:t>
          </a:r>
          <a:endParaRPr lang="en-US" sz="1200" kern="1200" dirty="0"/>
        </a:p>
      </dsp:txBody>
      <dsp:txXfrm>
        <a:off x="1927678" y="384327"/>
        <a:ext cx="606938" cy="606938"/>
      </dsp:txXfrm>
    </dsp:sp>
    <dsp:sp modelId="{B90E3149-5470-4928-A57F-B30CE73C8CDF}">
      <dsp:nvSpPr>
        <dsp:cNvPr id="0" name=""/>
        <dsp:cNvSpPr/>
      </dsp:nvSpPr>
      <dsp:spPr>
        <a:xfrm rot="2406017">
          <a:off x="1590065" y="2325201"/>
          <a:ext cx="31554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5543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E17A24-23DB-4220-8A0C-51C23F2299DD}">
      <dsp:nvSpPr>
        <dsp:cNvPr id="0" name=""/>
        <dsp:cNvSpPr/>
      </dsp:nvSpPr>
      <dsp:spPr>
        <a:xfrm>
          <a:off x="1868519" y="2373719"/>
          <a:ext cx="672606" cy="6726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200" kern="1200" dirty="0" smtClean="0"/>
            <a:t>Jenkins Slave</a:t>
          </a:r>
          <a:endParaRPr lang="en-US" sz="1200" kern="1200" dirty="0"/>
        </a:p>
      </dsp:txBody>
      <dsp:txXfrm>
        <a:off x="1901353" y="2406553"/>
        <a:ext cx="606938" cy="606938"/>
      </dsp:txXfrm>
    </dsp:sp>
    <dsp:sp modelId="{83E44145-E071-4C75-9C1A-92DE37F9F1E6}">
      <dsp:nvSpPr>
        <dsp:cNvPr id="0" name=""/>
        <dsp:cNvSpPr/>
      </dsp:nvSpPr>
      <dsp:spPr>
        <a:xfrm rot="21497454">
          <a:off x="1627100" y="1746031"/>
          <a:ext cx="24146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1468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DC9F81-0648-413A-952D-2DE1B7CDEA9B}">
      <dsp:nvSpPr>
        <dsp:cNvPr id="0" name=""/>
        <dsp:cNvSpPr/>
      </dsp:nvSpPr>
      <dsp:spPr>
        <a:xfrm>
          <a:off x="1868515" y="1396092"/>
          <a:ext cx="672606" cy="6726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200" kern="1200" dirty="0" smtClean="0"/>
            <a:t>Jenkins Slave</a:t>
          </a:r>
          <a:endParaRPr lang="en-US" sz="1200" kern="1200" dirty="0"/>
        </a:p>
      </dsp:txBody>
      <dsp:txXfrm>
        <a:off x="1901349" y="1428926"/>
        <a:ext cx="606938" cy="606938"/>
      </dsp:txXfrm>
    </dsp:sp>
    <dsp:sp modelId="{85817761-AA17-43A5-8B4C-8DBD576B00FF}">
      <dsp:nvSpPr>
        <dsp:cNvPr id="0" name=""/>
        <dsp:cNvSpPr/>
      </dsp:nvSpPr>
      <dsp:spPr>
        <a:xfrm rot="5445855">
          <a:off x="790988" y="2626877"/>
          <a:ext cx="56223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62239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79A7F-C3A9-4255-AAC6-8CF994BE9469}">
      <dsp:nvSpPr>
        <dsp:cNvPr id="0" name=""/>
        <dsp:cNvSpPr/>
      </dsp:nvSpPr>
      <dsp:spPr>
        <a:xfrm>
          <a:off x="727568" y="2907971"/>
          <a:ext cx="672606" cy="6726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200" kern="1200" dirty="0" smtClean="0"/>
            <a:t>Registry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200" kern="1200" dirty="0" smtClean="0"/>
            <a:t>Images</a:t>
          </a:r>
          <a:endParaRPr lang="en-US" sz="1200" kern="1200" dirty="0"/>
        </a:p>
      </dsp:txBody>
      <dsp:txXfrm>
        <a:off x="760402" y="2940805"/>
        <a:ext cx="606938" cy="6069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EC478B-22B5-412C-BAC0-C166B1F2A397}">
      <dsp:nvSpPr>
        <dsp:cNvPr id="0" name=""/>
        <dsp:cNvSpPr/>
      </dsp:nvSpPr>
      <dsp:spPr>
        <a:xfrm>
          <a:off x="534608" y="1491095"/>
          <a:ext cx="635648" cy="5923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800" kern="1200" dirty="0" smtClean="0"/>
            <a:t>FUT</a:t>
          </a:r>
          <a:endParaRPr lang="en-US" sz="1800" kern="1200" dirty="0"/>
        </a:p>
      </dsp:txBody>
      <dsp:txXfrm>
        <a:off x="563523" y="1520010"/>
        <a:ext cx="577818" cy="534499"/>
      </dsp:txXfrm>
    </dsp:sp>
    <dsp:sp modelId="{B90E3149-5470-4928-A57F-B30CE73C8CDF}">
      <dsp:nvSpPr>
        <dsp:cNvPr id="0" name=""/>
        <dsp:cNvSpPr/>
      </dsp:nvSpPr>
      <dsp:spPr>
        <a:xfrm rot="16211317">
          <a:off x="640292" y="1277277"/>
          <a:ext cx="42763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27638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E17A24-23DB-4220-8A0C-51C23F2299DD}">
      <dsp:nvSpPr>
        <dsp:cNvPr id="0" name=""/>
        <dsp:cNvSpPr/>
      </dsp:nvSpPr>
      <dsp:spPr>
        <a:xfrm>
          <a:off x="539760" y="443449"/>
          <a:ext cx="632150" cy="6200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800" kern="1200" dirty="0" smtClean="0"/>
            <a:t>DEV</a:t>
          </a:r>
          <a:endParaRPr lang="en-US" sz="1800" kern="1200" dirty="0"/>
        </a:p>
      </dsp:txBody>
      <dsp:txXfrm>
        <a:off x="570026" y="473715"/>
        <a:ext cx="571618" cy="559477"/>
      </dsp:txXfrm>
    </dsp:sp>
    <dsp:sp modelId="{83E44145-E071-4C75-9C1A-92DE37F9F1E6}">
      <dsp:nvSpPr>
        <dsp:cNvPr id="0" name=""/>
        <dsp:cNvSpPr/>
      </dsp:nvSpPr>
      <dsp:spPr>
        <a:xfrm rot="5360531">
          <a:off x="633348" y="2308479"/>
          <a:ext cx="45013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5013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DC9F81-0648-413A-952D-2DE1B7CDEA9B}">
      <dsp:nvSpPr>
        <dsp:cNvPr id="0" name=""/>
        <dsp:cNvSpPr/>
      </dsp:nvSpPr>
      <dsp:spPr>
        <a:xfrm>
          <a:off x="505464" y="2533532"/>
          <a:ext cx="717615" cy="5698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800" kern="1200" dirty="0" smtClean="0"/>
            <a:t>ITG</a:t>
          </a:r>
          <a:endParaRPr lang="en-US" sz="1800" kern="1200" dirty="0"/>
        </a:p>
      </dsp:txBody>
      <dsp:txXfrm>
        <a:off x="533281" y="2561349"/>
        <a:ext cx="661981" cy="5141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AA524F-A88C-4791-8926-788405898865}">
      <dsp:nvSpPr>
        <dsp:cNvPr id="0" name=""/>
        <dsp:cNvSpPr/>
      </dsp:nvSpPr>
      <dsp:spPr>
        <a:xfrm>
          <a:off x="440419" y="917580"/>
          <a:ext cx="886594" cy="945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2">
              <a:lumMod val="2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600" kern="1200" dirty="0" smtClean="0"/>
            <a:t>Jenkins Master</a:t>
          </a:r>
        </a:p>
      </dsp:txBody>
      <dsp:txXfrm>
        <a:off x="483699" y="960860"/>
        <a:ext cx="800034" cy="859358"/>
      </dsp:txXfrm>
    </dsp:sp>
    <dsp:sp modelId="{77C28584-1F58-4784-A06B-1ECA365C9E7B}">
      <dsp:nvSpPr>
        <dsp:cNvPr id="0" name=""/>
        <dsp:cNvSpPr/>
      </dsp:nvSpPr>
      <dsp:spPr>
        <a:xfrm rot="19007318">
          <a:off x="1286400" y="871544"/>
          <a:ext cx="2995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9537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10C877-3982-42EA-84B3-518E5A360C18}">
      <dsp:nvSpPr>
        <dsp:cNvPr id="0" name=""/>
        <dsp:cNvSpPr/>
      </dsp:nvSpPr>
      <dsp:spPr>
        <a:xfrm>
          <a:off x="1545325" y="237071"/>
          <a:ext cx="548538" cy="5485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2">
              <a:lumMod val="2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100" kern="1200" dirty="0" smtClean="0"/>
            <a:t>Jenkins Slave</a:t>
          </a:r>
          <a:endParaRPr lang="en-US" sz="1100" kern="1200" dirty="0"/>
        </a:p>
      </dsp:txBody>
      <dsp:txXfrm>
        <a:off x="1572102" y="263848"/>
        <a:ext cx="494984" cy="494984"/>
      </dsp:txXfrm>
    </dsp:sp>
    <dsp:sp modelId="{B90E3149-5470-4928-A57F-B30CE73C8CDF}">
      <dsp:nvSpPr>
        <dsp:cNvPr id="0" name=""/>
        <dsp:cNvSpPr/>
      </dsp:nvSpPr>
      <dsp:spPr>
        <a:xfrm rot="2406017">
          <a:off x="1296765" y="1846713"/>
          <a:ext cx="25733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7338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E17A24-23DB-4220-8A0C-51C23F2299DD}">
      <dsp:nvSpPr>
        <dsp:cNvPr id="0" name=""/>
        <dsp:cNvSpPr/>
      </dsp:nvSpPr>
      <dsp:spPr>
        <a:xfrm>
          <a:off x="1523856" y="1886281"/>
          <a:ext cx="548538" cy="5485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2">
              <a:lumMod val="2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100" kern="1200" dirty="0" smtClean="0"/>
            <a:t>Jenkins Slave</a:t>
          </a:r>
          <a:endParaRPr lang="en-US" sz="1100" kern="1200" dirty="0"/>
        </a:p>
      </dsp:txBody>
      <dsp:txXfrm>
        <a:off x="1550633" y="1913058"/>
        <a:ext cx="494984" cy="494984"/>
      </dsp:txXfrm>
    </dsp:sp>
    <dsp:sp modelId="{83E44145-E071-4C75-9C1A-92DE37F9F1E6}">
      <dsp:nvSpPr>
        <dsp:cNvPr id="0" name=""/>
        <dsp:cNvSpPr/>
      </dsp:nvSpPr>
      <dsp:spPr>
        <a:xfrm rot="21497454">
          <a:off x="1326969" y="1374375"/>
          <a:ext cx="19692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96927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DC9F81-0648-413A-952D-2DE1B7CDEA9B}">
      <dsp:nvSpPr>
        <dsp:cNvPr id="0" name=""/>
        <dsp:cNvSpPr/>
      </dsp:nvSpPr>
      <dsp:spPr>
        <a:xfrm>
          <a:off x="1523853" y="1088985"/>
          <a:ext cx="548538" cy="5485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2">
              <a:lumMod val="2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100" kern="1200" dirty="0" smtClean="0"/>
            <a:t>Jenkins Slave</a:t>
          </a:r>
          <a:endParaRPr lang="en-US" sz="1100" kern="1200" dirty="0"/>
        </a:p>
      </dsp:txBody>
      <dsp:txXfrm>
        <a:off x="1550630" y="1115762"/>
        <a:ext cx="494984" cy="494984"/>
      </dsp:txXfrm>
    </dsp:sp>
    <dsp:sp modelId="{85817761-AA17-43A5-8B4C-8DBD576B00FF}">
      <dsp:nvSpPr>
        <dsp:cNvPr id="0" name=""/>
        <dsp:cNvSpPr/>
      </dsp:nvSpPr>
      <dsp:spPr>
        <a:xfrm rot="5445855">
          <a:off x="645084" y="2092742"/>
          <a:ext cx="45852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58529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79A7F-C3A9-4255-AAC6-8CF994BE9469}">
      <dsp:nvSpPr>
        <dsp:cNvPr id="0" name=""/>
        <dsp:cNvSpPr/>
      </dsp:nvSpPr>
      <dsp:spPr>
        <a:xfrm>
          <a:off x="593363" y="2321987"/>
          <a:ext cx="548538" cy="5485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tx2">
              <a:lumMod val="2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000" kern="1200" dirty="0" err="1" smtClean="0"/>
            <a:t>Docker</a:t>
          </a:r>
          <a:endParaRPr lang="en-IE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1000" kern="1200" dirty="0" smtClean="0"/>
            <a:t>Registry</a:t>
          </a:r>
        </a:p>
      </dsp:txBody>
      <dsp:txXfrm>
        <a:off x="620140" y="2348764"/>
        <a:ext cx="494984" cy="4949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9F16E5-9D08-45E7-9B40-9FAC8F07802F}" type="datetimeFigureOut">
              <a:rPr lang="en-US" smtClean="0"/>
              <a:t>2/2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EA444-2691-4860-B468-AC119CC651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113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043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b="1" i="0" kern="1200" baseline="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84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b="1" i="0" kern="1200" baseline="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224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b="1" i="0" kern="1200" baseline="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147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: is there a Portal 2.0 beta in parallel</a:t>
            </a:r>
            <a:r>
              <a:rPr lang="en-US" baseline="0" dirty="0" smtClean="0"/>
              <a:t> with “Retire SADB” feature?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Priorities of features. Is Insight Online prioritized correctly? I have it</a:t>
            </a:r>
            <a:r>
              <a:rPr lang="en-US" baseline="0" dirty="0" smtClean="0"/>
              <a:t> 3</a:t>
            </a:r>
            <a:r>
              <a:rPr lang="en-US" baseline="30000" dirty="0" smtClean="0"/>
              <a:t>rd</a:t>
            </a:r>
            <a:r>
              <a:rPr lang="en-US" baseline="0" dirty="0" smtClean="0"/>
              <a:t> because I don’t think a replacement can be delivered in PI 2. </a:t>
            </a:r>
            <a:endParaRPr lang="en-US" dirty="0" smtClean="0"/>
          </a:p>
          <a:p>
            <a:r>
              <a:rPr lang="en-US" baseline="0" dirty="0" smtClean="0"/>
              <a:t>When is event processing introduced to SA2.0?</a:t>
            </a:r>
          </a:p>
          <a:p>
            <a:r>
              <a:rPr lang="en-US" baseline="0" dirty="0" smtClean="0"/>
              <a:t>Need to validate the UX for native client. Phased approach for client – e.g. Fusion/RSPI migrates first? Or migrate to SA2.0 API first, then change UX later. </a:t>
            </a:r>
          </a:p>
          <a:p>
            <a:r>
              <a:rPr lang="en-US" baseline="0" dirty="0" smtClean="0"/>
              <a:t>Concern that SADB retirement is more complex than realized; need additional spikes to raise confidence. Or a contingency plan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837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403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721"/>
            <a:ext cx="3878263" cy="3219794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6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782789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with sub-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63970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566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18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srgbClr val="E5E8E8">
                    <a:lumMod val="75000"/>
                  </a:srgbClr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logo"/>
          <p:cNvSpPr>
            <a:spLocks noChangeAspect="1" noEditPoints="1"/>
          </p:cNvSpPr>
          <p:nvPr userDrawn="1"/>
        </p:nvSpPr>
        <p:spPr bwMode="black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67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49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460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49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278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7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045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951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105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600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572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89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56" y="228600"/>
            <a:ext cx="6858000" cy="2057400"/>
          </a:xfrm>
        </p:spPr>
        <p:txBody>
          <a:bodyPr anchor="t"/>
          <a:lstStyle>
            <a:lvl1pPr marL="175046" indent="-175046" algn="l">
              <a:defRPr sz="3300" b="1" cap="none" spc="-75" baseline="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add quoted person’s name, title and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12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accent5"/>
              </a:solidFill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0"/>
            <a:ext cx="8229600" cy="33147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5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246418"/>
            <a:ext cx="8229600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43050"/>
            <a:ext cx="8229600" cy="3028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08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08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348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09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71551"/>
            <a:ext cx="3986784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971551"/>
            <a:ext cx="3986784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70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50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57300"/>
            <a:ext cx="3986784" cy="3314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971550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257300"/>
            <a:ext cx="3986784" cy="3314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89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8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0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7992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chemeClr val="bg1"/>
              </a:solidFill>
              <a:latin typeface="HP Simplified"/>
              <a:cs typeface="HP Simplified"/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3291840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126481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0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5305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3291840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126481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0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2269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1551"/>
            <a:ext cx="5715000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00800" y="971550"/>
            <a:ext cx="2286000" cy="360045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49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5029200" cy="360045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0720" y="971550"/>
            <a:ext cx="2926080" cy="360045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8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5029200" cy="360045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60720" y="971550"/>
            <a:ext cx="2926080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3538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3986784" cy="262890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700016" y="971550"/>
            <a:ext cx="3986784" cy="262890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714750"/>
            <a:ext cx="3986784" cy="847868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00016" y="3714750"/>
            <a:ext cx="3986784" cy="847868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04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2560320" cy="205740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3291840" y="971550"/>
            <a:ext cx="2560320" cy="205740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6126481" y="971550"/>
            <a:ext cx="2560320" cy="2057400"/>
          </a:xfrm>
        </p:spPr>
        <p:txBody>
          <a:bodyPr tIns="342946">
            <a:noAutofit/>
          </a:bodyPr>
          <a:lstStyle>
            <a:lvl1pPr marL="0" indent="0" algn="ctr">
              <a:buNone/>
              <a:defRPr sz="1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3291840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6126481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46" indent="0">
              <a:buNone/>
              <a:defRPr sz="900"/>
            </a:lvl2pPr>
            <a:lvl3pPr marL="685891" indent="0">
              <a:buNone/>
              <a:defRPr sz="800"/>
            </a:lvl3pPr>
            <a:lvl4pPr marL="1028837" indent="0">
              <a:buNone/>
              <a:defRPr sz="700"/>
            </a:lvl4pPr>
            <a:lvl5pPr marL="1371783" indent="0">
              <a:buNone/>
              <a:defRPr sz="700"/>
            </a:lvl5pPr>
            <a:lvl6pPr marL="1714729" indent="0">
              <a:buNone/>
              <a:defRPr sz="700"/>
            </a:lvl6pPr>
            <a:lvl7pPr marL="2057674" indent="0">
              <a:buNone/>
              <a:defRPr sz="700"/>
            </a:lvl7pPr>
            <a:lvl8pPr marL="2400620" indent="0">
              <a:buNone/>
              <a:defRPr sz="700"/>
            </a:lvl8pPr>
            <a:lvl9pPr marL="2743566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77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12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27848" y="228601"/>
            <a:ext cx="758952" cy="4343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1"/>
            <a:ext cx="7239000" cy="4343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72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6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7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6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9559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94735" y="4691083"/>
            <a:ext cx="401637" cy="301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1" y="342921"/>
            <a:ext cx="8375650" cy="32980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685201" rtl="0" eaLnBrk="1" fontAlgn="auto" latinLnBrk="0" hangingPunct="1">
              <a:lnSpc>
                <a:spcPts val="2475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aseline="0">
                <a:solidFill>
                  <a:srgbClr val="000000"/>
                </a:solidFill>
                <a:latin typeface="Futura Hv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81002" y="914400"/>
            <a:ext cx="8272463" cy="3474244"/>
          </a:xfrm>
        </p:spPr>
        <p:txBody>
          <a:bodyPr/>
          <a:lstStyle>
            <a:lvl1pPr>
              <a:defRPr sz="15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22275" y="4830367"/>
            <a:ext cx="387350" cy="164306"/>
          </a:xfrm>
          <a:prstGeom prst="rect">
            <a:avLst/>
          </a:prstGeom>
        </p:spPr>
        <p:txBody>
          <a:bodyPr lIns="91356" tIns="45678" rIns="91356" bIns="45678"/>
          <a:lstStyle>
            <a:lvl1pPr eaLnBrk="0" hangingPunct="0">
              <a:defRPr sz="700">
                <a:solidFill>
                  <a:srgbClr val="848589"/>
                </a:solidFill>
              </a:defRPr>
            </a:lvl1pPr>
          </a:lstStyle>
          <a:p>
            <a:pPr defTabSz="456801">
              <a:defRPr/>
            </a:pPr>
            <a:fld id="{810D4100-6E15-4D59-80AF-02AC65799ADE}" type="slidenum">
              <a:rPr lang="en-US" smtClean="0"/>
              <a:pPr defTabSz="456801"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dt" sz="half" idx="11"/>
          </p:nvPr>
        </p:nvSpPr>
        <p:spPr>
          <a:xfrm>
            <a:off x="7389522" y="4764026"/>
            <a:ext cx="1114425" cy="219075"/>
          </a:xfrm>
          <a:prstGeom prst="rect">
            <a:avLst/>
          </a:prstGeom>
        </p:spPr>
        <p:txBody>
          <a:bodyPr lIns="68529" tIns="34265" rIns="68529" bIns="34265"/>
          <a:lstStyle>
            <a:lvl1pPr eaLnBrk="0" hangingPunct="0">
              <a:defRPr sz="700" smtClean="0">
                <a:solidFill>
                  <a:srgbClr val="848589"/>
                </a:solidFill>
              </a:defRPr>
            </a:lvl1pPr>
          </a:lstStyle>
          <a:p>
            <a:pPr>
              <a:defRPr/>
            </a:pPr>
            <a:fld id="{0227285C-B2D7-47C9-B8F3-D6ABF8CBEBA9}" type="datetime1">
              <a:rPr lang="en-US"/>
              <a:pPr>
                <a:defRPr/>
              </a:pPr>
              <a:t>2/26/2015</a:t>
            </a:fld>
            <a:endParaRPr lang="en-US" dirty="0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2"/>
          </p:nvPr>
        </p:nvSpPr>
        <p:spPr>
          <a:xfrm>
            <a:off x="3094128" y="4846489"/>
            <a:ext cx="2895600" cy="227407"/>
          </a:xfrm>
          <a:prstGeom prst="rect">
            <a:avLst/>
          </a:prstGeom>
        </p:spPr>
        <p:txBody>
          <a:bodyPr lIns="68529" tIns="34265" rIns="68529" bIns="34265"/>
          <a:lstStyle>
            <a:lvl1pPr algn="ctr" eaLnBrk="0" hangingPunct="0">
              <a:defRPr sz="700" smtClean="0">
                <a:solidFill>
                  <a:srgbClr val="848589"/>
                </a:solidFill>
              </a:defRPr>
            </a:lvl1pPr>
          </a:lstStyle>
          <a:p>
            <a:pPr>
              <a:defRPr/>
            </a:pPr>
            <a:r>
              <a:rPr lang="en-US"/>
              <a:t>Cyclops Definition Phase/POR Checkpoint (Editable Footer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735100"/>
      </p:ext>
    </p:extLst>
  </p:cSld>
  <p:clrMapOvr>
    <a:masterClrMapping/>
  </p:clrMapOvr>
  <p:transition>
    <p:fade thruBlk="1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020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6" y="1188722"/>
            <a:ext cx="8119872" cy="3228975"/>
          </a:xfrm>
        </p:spPr>
        <p:txBody>
          <a:bodyPr wrap="square">
            <a:noAutofit/>
          </a:bodyPr>
          <a:lstStyle>
            <a:lvl1pPr marL="171388" indent="-17138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772" indent="-17138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576" indent="-169801">
              <a:defRPr sz="1400">
                <a:solidFill>
                  <a:srgbClr val="000000"/>
                </a:solidFill>
              </a:defRPr>
            </a:lvl3pPr>
            <a:lvl4pPr marL="690311" indent="-180909">
              <a:defRPr sz="1400">
                <a:solidFill>
                  <a:srgbClr val="000000"/>
                </a:solidFill>
              </a:defRPr>
            </a:lvl4pPr>
            <a:lvl5pPr marL="833133" indent="-150760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9429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srgbClr val="E5E8E8">
                    <a:lumMod val="75000"/>
                  </a:srgbClr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logo"/>
          <p:cNvSpPr>
            <a:spLocks noChangeAspect="1" noEditPoints="1"/>
          </p:cNvSpPr>
          <p:nvPr userDrawn="1"/>
        </p:nvSpPr>
        <p:spPr bwMode="black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34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129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878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32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479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52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214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142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553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4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361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5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6858000" cy="13716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265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8956" y="228600"/>
            <a:ext cx="6858000" cy="2057400"/>
          </a:xfrm>
        </p:spPr>
        <p:txBody>
          <a:bodyPr anchor="t"/>
          <a:lstStyle>
            <a:lvl1pPr marL="175022" indent="-175022" algn="l">
              <a:defRPr sz="3300" b="1" cap="none" spc="-75" baseline="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3314700"/>
            <a:ext cx="6858000" cy="891540"/>
          </a:xfrm>
        </p:spPr>
        <p:txBody>
          <a:bodyPr anchor="t">
            <a:noAutofit/>
          </a:bodyPr>
          <a:lstStyle>
            <a:lvl1pPr marL="0" indent="0">
              <a:spcBef>
                <a:spcPts val="450"/>
              </a:spcBef>
              <a:buNone/>
              <a:defRPr sz="1400">
                <a:solidFill>
                  <a:schemeClr val="tx1"/>
                </a:solidFill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add quoted person’s name, title and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/>
              <a:t>2/26/201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5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79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1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1"/>
            <a:ext cx="8229601" cy="33147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65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1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246418"/>
            <a:ext cx="8229601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43050"/>
            <a:ext cx="8229601" cy="3028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5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72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1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2910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79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71551"/>
            <a:ext cx="3986784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971551"/>
            <a:ext cx="3986784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0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50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57301"/>
            <a:ext cx="3986784" cy="3314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971550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257301"/>
            <a:ext cx="3986784" cy="3314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78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1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27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1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971550"/>
            <a:ext cx="2560320" cy="36004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3373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3291841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126481" y="971550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1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1257300"/>
            <a:ext cx="2560320" cy="33147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807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850392"/>
            <a:ext cx="8229601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3291841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126481" y="1257299"/>
            <a:ext cx="2560320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291841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126481" y="1543050"/>
            <a:ext cx="2560320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1985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1551"/>
            <a:ext cx="5715000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00800" y="971550"/>
            <a:ext cx="2286000" cy="360045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51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5029200" cy="360045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0720" y="971550"/>
            <a:ext cx="2926080" cy="3600450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15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5029200" cy="360045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60720" y="971550"/>
            <a:ext cx="2926080" cy="3600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5818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3986784" cy="262890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700016" y="971550"/>
            <a:ext cx="3986784" cy="262890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714750"/>
            <a:ext cx="3986784" cy="847868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00016" y="3714750"/>
            <a:ext cx="3986784" cy="847868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946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971550"/>
            <a:ext cx="2560320" cy="205740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3291841" y="971550"/>
            <a:ext cx="2560320" cy="205740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6126481" y="971550"/>
            <a:ext cx="2560320" cy="2057400"/>
          </a:xfrm>
        </p:spPr>
        <p:txBody>
          <a:bodyPr tIns="342900">
            <a:noAutofit/>
          </a:bodyPr>
          <a:lstStyle>
            <a:lvl1pPr marL="0" indent="0" algn="ctr">
              <a:buNone/>
              <a:defRPr sz="1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3291841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6126481" y="3158544"/>
            <a:ext cx="2560320" cy="141345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49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93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27848" y="228601"/>
            <a:ext cx="758952" cy="4343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1"/>
            <a:ext cx="7239000" cy="4343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76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6" indent="-171446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92" indent="-171446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50" indent="-169859">
              <a:defRPr sz="1400">
                <a:solidFill>
                  <a:srgbClr val="000000"/>
                </a:solidFill>
              </a:defRPr>
            </a:lvl3pPr>
            <a:lvl4pPr marL="690546" indent="-180971">
              <a:defRPr sz="1400">
                <a:solidFill>
                  <a:srgbClr val="000000"/>
                </a:solidFill>
              </a:defRPr>
            </a:lvl4pPr>
            <a:lvl5pPr marL="833417" indent="-150809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0078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5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+mn-lt"/>
                <a:cs typeface="HP Simplified"/>
              </a:rPr>
              <a:t>© Copyright 2014 Hewlett-Packard Development Company, L.P.  The information contained herein is subject to change without notice.</a:t>
            </a:r>
            <a:endParaRPr lang="en-US" sz="700" b="0" i="0" dirty="0" smtClean="0">
              <a:solidFill>
                <a:srgbClr val="B9B8BB"/>
              </a:solidFill>
              <a:latin typeface="HP Simplified"/>
              <a:cs typeface="HP Simplified"/>
            </a:endParaRP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19" r:id="rId2"/>
    <p:sldLayoutId id="2147483834" r:id="rId3"/>
    <p:sldLayoutId id="2147483833" r:id="rId4"/>
    <p:sldLayoutId id="2147483837" r:id="rId5"/>
    <p:sldLayoutId id="2147483818" r:id="rId6"/>
    <p:sldLayoutId id="2147483809" r:id="rId7"/>
    <p:sldLayoutId id="2147483839" r:id="rId8"/>
    <p:sldLayoutId id="2147483820" r:id="rId9"/>
    <p:sldLayoutId id="2147483823" r:id="rId10"/>
    <p:sldLayoutId id="2147483821" r:id="rId11"/>
    <p:sldLayoutId id="2147483824" r:id="rId12"/>
    <p:sldLayoutId id="2147483822" r:id="rId13"/>
    <p:sldLayoutId id="2147483825" r:id="rId14"/>
    <p:sldLayoutId id="2147483840" r:id="rId15"/>
    <p:sldLayoutId id="2147483841" r:id="rId16"/>
    <p:sldLayoutId id="2147483880" r:id="rId17"/>
    <p:sldLayoutId id="2147483881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1"/>
            <a:ext cx="8229600" cy="3600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91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891"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91"/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91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891"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pyright"/>
          <p:cNvSpPr txBox="1"/>
          <p:nvPr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46">
              <a:defRPr/>
            </a:pPr>
            <a:r>
              <a:rPr lang="en-US" sz="500" dirty="0">
                <a:solidFill>
                  <a:srgbClr val="E5E8E8">
                    <a:lumMod val="75000"/>
                  </a:srgbClr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11" name="logo"/>
          <p:cNvSpPr>
            <a:spLocks noChangeAspect="1" noEditPoints="1"/>
          </p:cNvSpPr>
          <p:nvPr/>
        </p:nvSpPr>
        <p:spPr bwMode="black">
          <a:xfrm>
            <a:off x="8692318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685891"/>
            <a:endParaRPr lang="en-US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40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85891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78" indent="-137178" algn="l" defTabSz="685891" rtl="0" eaLnBrk="1" latinLnBrk="0" hangingPunct="1">
        <a:lnSpc>
          <a:spcPct val="90000"/>
        </a:lnSpc>
        <a:spcBef>
          <a:spcPts val="900"/>
        </a:spcBef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08651" indent="-137178" algn="l" defTabSz="685891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535" indent="-102884" algn="l" defTabSz="685891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8713" indent="-102884" algn="l" defTabSz="685891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97" indent="-102884" algn="l" defTabSz="685891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775" indent="-102884" algn="l" defTabSz="685891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659" indent="-102884" algn="l" defTabSz="685891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837" indent="-102884" algn="l" defTabSz="685891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6015" indent="-102884" algn="l" defTabSz="685891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1" cy="5715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1"/>
            <a:ext cx="8229601" cy="3600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00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800"/>
              <a:t>2/26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685800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10" name="copyright"/>
          <p:cNvSpPr txBox="1"/>
          <p:nvPr/>
        </p:nvSpPr>
        <p:spPr>
          <a:xfrm>
            <a:off x="457200" y="4861902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00">
              <a:defRPr/>
            </a:pPr>
            <a:r>
              <a:rPr lang="en-US" sz="500" dirty="0">
                <a:solidFill>
                  <a:srgbClr val="E5E8E8">
                    <a:lumMod val="75000"/>
                  </a:srgbClr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8692319" y="4740902"/>
            <a:ext cx="267532" cy="267462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759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6" r:id="rId24"/>
    <p:sldLayoutId id="2147483907" r:id="rId25"/>
    <p:sldLayoutId id="2147483908" r:id="rId26"/>
    <p:sldLayoutId id="2147483909" r:id="rId27"/>
    <p:sldLayoutId id="2147483910" r:id="rId28"/>
    <p:sldLayoutId id="2147483911" r:id="rId29"/>
    <p:sldLayoutId id="2147483912" r:id="rId30"/>
    <p:sldLayoutId id="2147483913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SzPct val="80000"/>
        <a:buFont typeface="HP Simplified" panose="020B0604020204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HP Simplified" panose="020B0604020204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jpe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Data" Target="../diagrams/data3.xml"/><Relationship Id="rId18" Type="http://schemas.openxmlformats.org/officeDocument/2006/relationships/image" Target="../media/image14.jpeg"/><Relationship Id="rId3" Type="http://schemas.openxmlformats.org/officeDocument/2006/relationships/diagramLayout" Target="../diagrams/layout1.xml"/><Relationship Id="rId21" Type="http://schemas.openxmlformats.org/officeDocument/2006/relationships/image" Target="../media/image17.png"/><Relationship Id="rId7" Type="http://schemas.openxmlformats.org/officeDocument/2006/relationships/diagramData" Target="../diagrams/data2.xml"/><Relationship Id="rId12" Type="http://schemas.openxmlformats.org/officeDocument/2006/relationships/image" Target="../media/image13.png"/><Relationship Id="rId17" Type="http://schemas.microsoft.com/office/2007/relationships/diagramDrawing" Target="../diagrams/drawing3.xml"/><Relationship Id="rId2" Type="http://schemas.openxmlformats.org/officeDocument/2006/relationships/diagramData" Target="../diagrams/data1.xml"/><Relationship Id="rId16" Type="http://schemas.openxmlformats.org/officeDocument/2006/relationships/diagramColors" Target="../diagrams/colors3.xml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QuickStyle" Target="../diagrams/quickStyle3.xml"/><Relationship Id="rId10" Type="http://schemas.openxmlformats.org/officeDocument/2006/relationships/diagramColors" Target="../diagrams/colors2.xml"/><Relationship Id="rId19" Type="http://schemas.openxmlformats.org/officeDocument/2006/relationships/image" Target="../media/image15.png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A 2.0 / Curios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ebruary 24</a:t>
            </a:r>
            <a:r>
              <a:rPr lang="en-US" baseline="30000" dirty="0" smtClean="0"/>
              <a:t>th</a:t>
            </a:r>
            <a:r>
              <a:rPr lang="en-US" dirty="0" smtClean="0"/>
              <a:t> 2015</a:t>
            </a:r>
          </a:p>
        </p:txBody>
      </p:sp>
    </p:spTree>
    <p:extLst>
      <p:ext uri="{BB962C8B-B14F-4D97-AF65-F5344CB8AC3E}">
        <p14:creationId xmlns:p14="http://schemas.microsoft.com/office/powerpoint/2010/main" val="234147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0998" y="86462"/>
            <a:ext cx="8117206" cy="430887"/>
          </a:xfrm>
        </p:spPr>
        <p:txBody>
          <a:bodyPr/>
          <a:lstStyle/>
          <a:p>
            <a:r>
              <a:rPr lang="en-GB" sz="2400" dirty="0" smtClean="0"/>
              <a:t>SA 2.0 End-to-End Analytics</a:t>
            </a:r>
            <a:endParaRPr lang="en-GB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998" y="968873"/>
            <a:ext cx="8498252" cy="320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3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of PI2 (draft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March / April / Ma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ITG Environment </a:t>
            </a:r>
            <a:r>
              <a:rPr lang="en-US" dirty="0" smtClean="0"/>
              <a:t>ready; </a:t>
            </a:r>
            <a:r>
              <a:rPr lang="en-US" dirty="0"/>
              <a:t>S</a:t>
            </a:r>
            <a:r>
              <a:rPr lang="en-US" dirty="0" smtClean="0"/>
              <a:t>tretch </a:t>
            </a:r>
            <a:r>
              <a:rPr lang="en-US" dirty="0"/>
              <a:t>goal Production (</a:t>
            </a:r>
            <a:r>
              <a:rPr lang="en-US" i="1" dirty="0"/>
              <a:t>must be ready by July</a:t>
            </a:r>
            <a:r>
              <a:rPr lang="en-US" dirty="0"/>
              <a:t>)</a:t>
            </a:r>
          </a:p>
          <a:p>
            <a:pPr lvl="1"/>
            <a:r>
              <a:rPr lang="en-US" dirty="0" smtClean="0"/>
              <a:t>SA 2.0 production performance ready to accept 3PAR telemetry from RDA Domino for HPSD July early adopter program</a:t>
            </a:r>
          </a:p>
          <a:p>
            <a:pPr lvl="1"/>
            <a:r>
              <a:rPr lang="en-US" dirty="0" smtClean="0"/>
              <a:t>IPv6</a:t>
            </a:r>
          </a:p>
          <a:p>
            <a:r>
              <a:rPr lang="en-US" dirty="0" smtClean="0"/>
              <a:t>Onboard select connected products to SA 2.0</a:t>
            </a:r>
          </a:p>
          <a:p>
            <a:pPr lvl="1"/>
            <a:r>
              <a:rPr lang="en-US" dirty="0" smtClean="0"/>
              <a:t>Thing definition</a:t>
            </a:r>
          </a:p>
          <a:p>
            <a:pPr lvl="1"/>
            <a:r>
              <a:rPr lang="en-US" dirty="0" err="1" smtClean="0"/>
              <a:t>Thingformation</a:t>
            </a:r>
            <a:r>
              <a:rPr lang="en-US" dirty="0" smtClean="0"/>
              <a:t> definition</a:t>
            </a:r>
          </a:p>
          <a:p>
            <a:pPr lvl="1"/>
            <a:r>
              <a:rPr lang="en-US" dirty="0" smtClean="0"/>
              <a:t>Parsers</a:t>
            </a:r>
          </a:p>
          <a:p>
            <a:r>
              <a:rPr lang="en-US" dirty="0" smtClean="0"/>
              <a:t>Analytics and Quality data</a:t>
            </a:r>
          </a:p>
          <a:p>
            <a:pPr lvl="1"/>
            <a:r>
              <a:rPr lang="en-US" dirty="0" smtClean="0"/>
              <a:t>Hardware platform determined and setup</a:t>
            </a:r>
          </a:p>
          <a:p>
            <a:pPr lvl="1"/>
            <a:r>
              <a:rPr lang="en-US" dirty="0" smtClean="0"/>
              <a:t>Prototype for quality reporting (replacement for SEQUAL)</a:t>
            </a:r>
          </a:p>
          <a:p>
            <a:r>
              <a:rPr lang="en-US" dirty="0" smtClean="0"/>
              <a:t>Initial UX with user role definition and entitlement/ICM handling</a:t>
            </a:r>
          </a:p>
          <a:p>
            <a:pPr lvl="1"/>
            <a:r>
              <a:rPr lang="en-US" dirty="0" smtClean="0"/>
              <a:t>Landing page with environment landscape</a:t>
            </a:r>
          </a:p>
          <a:p>
            <a:pPr lvl="1"/>
            <a:r>
              <a:rPr lang="en-US" dirty="0" smtClean="0"/>
              <a:t>Platform search</a:t>
            </a:r>
          </a:p>
          <a:p>
            <a:pPr lvl="1"/>
            <a:r>
              <a:rPr lang="en-US" dirty="0" smtClean="0"/>
              <a:t>Stretch goals: Knowledge search; New User registration</a:t>
            </a:r>
          </a:p>
          <a:p>
            <a:r>
              <a:rPr lang="en-US" smtClean="0"/>
              <a:t>Migration roadmap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8459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E" dirty="0" smtClean="0"/>
              <a:t>Backup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60957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ng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435064" y="1447676"/>
            <a:ext cx="1429046" cy="723340"/>
            <a:chOff x="1010710" y="1745224"/>
            <a:chExt cx="1429046" cy="723340"/>
          </a:xfrm>
        </p:grpSpPr>
        <p:pic>
          <p:nvPicPr>
            <p:cNvPr id="1026" name="Picture 2" descr="https://encrypted-tbn0.gstatic.com/images?q=tbn:ANd9GcSAESSAle1z7pt1KTrEEqRDr6EfifgeZDZIHrJq0O21jPhBVKczr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1521" y="2083778"/>
              <a:ext cx="1187424" cy="38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1010710" y="1745224"/>
              <a:ext cx="142904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err="1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Proliant</a:t>
              </a: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 dl 380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55875" y="2916515"/>
            <a:ext cx="1308235" cy="1016245"/>
            <a:chOff x="3400059" y="2848707"/>
            <a:chExt cx="1356739" cy="101624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0059" y="2848707"/>
              <a:ext cx="1356739" cy="1016245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3546006" y="2848707"/>
              <a:ext cx="10648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3Par 7450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21040" y="1857256"/>
            <a:ext cx="1182953" cy="1872154"/>
            <a:chOff x="721040" y="1857256"/>
            <a:chExt cx="1182953" cy="187215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5214" y="2171016"/>
              <a:ext cx="791565" cy="1558394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721040" y="1857256"/>
              <a:ext cx="118295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Rack Server</a:t>
              </a: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528" y="1447676"/>
            <a:ext cx="775188" cy="10164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408" y="1447676"/>
            <a:ext cx="761634" cy="131393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466273" y="4044975"/>
            <a:ext cx="131638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3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hing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3640015" y="2329962"/>
            <a:ext cx="1063870" cy="160279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411695" y="3729238"/>
            <a:ext cx="978378" cy="40444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 flipV="1">
            <a:off x="1685040" y="3729238"/>
            <a:ext cx="2650297" cy="5371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5124466" y="2950213"/>
            <a:ext cx="657091" cy="106397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5483222" y="2599373"/>
            <a:ext cx="2147930" cy="145965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858859" y="3771388"/>
            <a:ext cx="3106125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100" i="1" dirty="0" smtClean="0"/>
              <a:t>Thing </a:t>
            </a:r>
            <a:r>
              <a:rPr lang="en-US" sz="1100" dirty="0"/>
              <a:t>is a representation of an existing physical or virtual object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100" dirty="0" smtClean="0"/>
              <a:t>An </a:t>
            </a:r>
            <a:r>
              <a:rPr lang="en-US" sz="1100" dirty="0"/>
              <a:t>instance  of a </a:t>
            </a:r>
            <a:r>
              <a:rPr lang="en-US" sz="1100" i="1" dirty="0"/>
              <a:t>ThingType</a:t>
            </a:r>
            <a:r>
              <a:rPr lang="en-US" sz="1100" dirty="0"/>
              <a:t>, storing the real values for </a:t>
            </a:r>
            <a:r>
              <a:rPr lang="en-US" sz="1100" i="1" dirty="0"/>
              <a:t>Attributes</a:t>
            </a:r>
            <a:r>
              <a:rPr lang="en-US" sz="1100" dirty="0"/>
              <a:t>, </a:t>
            </a:r>
            <a:r>
              <a:rPr lang="en-US" sz="1100" i="1" dirty="0"/>
              <a:t>Relations </a:t>
            </a:r>
            <a:r>
              <a:rPr lang="en-US" sz="1100" dirty="0"/>
              <a:t>as determined by handlers. </a:t>
            </a:r>
            <a:endParaRPr lang="en-US" sz="12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pic>
        <p:nvPicPr>
          <p:cNvPr id="1024" name="Picture 10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0485" y="1578278"/>
            <a:ext cx="1258733" cy="755240"/>
          </a:xfrm>
          <a:prstGeom prst="rect">
            <a:avLst/>
          </a:prstGeom>
        </p:spPr>
      </p:pic>
      <p:cxnSp>
        <p:nvCxnSpPr>
          <p:cNvPr id="34" name="Straight Arrow Connector 33"/>
          <p:cNvCxnSpPr/>
          <p:nvPr/>
        </p:nvCxnSpPr>
        <p:spPr>
          <a:xfrm flipH="1" flipV="1">
            <a:off x="4502715" y="2364304"/>
            <a:ext cx="368548" cy="15671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34" name="Picture 10" descr="https://encrypted-tbn0.gstatic.com/images?q=tbn:ANd9GcQO6fujFqVirKOCeUXFHp17WZeFGe0r7HIwzVh8j3-kbBy2rFtp7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0" y="4043170"/>
            <a:ext cx="1330325" cy="658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Straight Arrow Connector 38"/>
          <p:cNvCxnSpPr/>
          <p:nvPr/>
        </p:nvCxnSpPr>
        <p:spPr>
          <a:xfrm flipH="1" flipV="1">
            <a:off x="2870655" y="4337362"/>
            <a:ext cx="1519418" cy="13913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31" name="Picture 10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4597" y="2356114"/>
            <a:ext cx="572959" cy="423682"/>
          </a:xfrm>
          <a:prstGeom prst="rect">
            <a:avLst/>
          </a:prstGeom>
        </p:spPr>
      </p:pic>
      <p:cxnSp>
        <p:nvCxnSpPr>
          <p:cNvPr id="43" name="Straight Arrow Connector 42"/>
          <p:cNvCxnSpPr/>
          <p:nvPr/>
        </p:nvCxnSpPr>
        <p:spPr>
          <a:xfrm flipH="1" flipV="1">
            <a:off x="3188285" y="2598954"/>
            <a:ext cx="1383533" cy="13985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25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3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ngformation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435064" y="1447676"/>
            <a:ext cx="1429046" cy="723340"/>
            <a:chOff x="1010710" y="1745224"/>
            <a:chExt cx="1429046" cy="723340"/>
          </a:xfrm>
        </p:grpSpPr>
        <p:pic>
          <p:nvPicPr>
            <p:cNvPr id="1026" name="Picture 2" descr="https://encrypted-tbn0.gstatic.com/images?q=tbn:ANd9GcSAESSAle1z7pt1KTrEEqRDr6EfifgeZDZIHrJq0O21jPhBVKczr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1521" y="2083778"/>
              <a:ext cx="1187424" cy="38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1010710" y="1745224"/>
              <a:ext cx="142904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err="1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Proliant</a:t>
              </a: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 dl 380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55875" y="2916515"/>
            <a:ext cx="1308235" cy="1016245"/>
            <a:chOff x="3400059" y="2848707"/>
            <a:chExt cx="1356739" cy="101624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0059" y="2848707"/>
              <a:ext cx="1356739" cy="1016245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3546006" y="2848707"/>
              <a:ext cx="10648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3Par 7450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21040" y="1857256"/>
            <a:ext cx="1182953" cy="1872154"/>
            <a:chOff x="721040" y="1857256"/>
            <a:chExt cx="1182953" cy="187215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5214" y="2171016"/>
              <a:ext cx="791565" cy="1558394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721040" y="1857256"/>
              <a:ext cx="118295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Rack Server</a:t>
              </a: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528" y="1447676"/>
            <a:ext cx="775188" cy="10164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408" y="1447676"/>
            <a:ext cx="761634" cy="131393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328235" y="4204888"/>
            <a:ext cx="30122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3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hingform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3543434" y="2400301"/>
            <a:ext cx="1063870" cy="172185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411695" y="3729238"/>
            <a:ext cx="648744" cy="3942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 flipV="1">
            <a:off x="1828800" y="3657600"/>
            <a:ext cx="1872883" cy="52327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5169528" y="2823866"/>
            <a:ext cx="657091" cy="125917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5631006" y="2599373"/>
            <a:ext cx="2000146" cy="14925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24" name="Picture 10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0485" y="1578278"/>
            <a:ext cx="1258733" cy="755240"/>
          </a:xfrm>
          <a:prstGeom prst="rect">
            <a:avLst/>
          </a:prstGeom>
        </p:spPr>
      </p:pic>
      <p:cxnSp>
        <p:nvCxnSpPr>
          <p:cNvPr id="34" name="Straight Arrow Connector 33"/>
          <p:cNvCxnSpPr/>
          <p:nvPr/>
        </p:nvCxnSpPr>
        <p:spPr>
          <a:xfrm flipH="1" flipV="1">
            <a:off x="4502715" y="2364305"/>
            <a:ext cx="348954" cy="17035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34" name="Picture 10" descr="https://encrypted-tbn0.gstatic.com/images?q=tbn:ANd9GcQO6fujFqVirKOCeUXFHp17WZeFGe0r7HIwzVh8j3-kbBy2rFtp7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0" y="4043170"/>
            <a:ext cx="1330325" cy="658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Straight Arrow Connector 38"/>
          <p:cNvCxnSpPr/>
          <p:nvPr/>
        </p:nvCxnSpPr>
        <p:spPr>
          <a:xfrm flipH="1" flipV="1">
            <a:off x="2870655" y="4337363"/>
            <a:ext cx="493432" cy="607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270996" y="2823866"/>
            <a:ext cx="612604" cy="74892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Power 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ailure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ven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743025" y="1789572"/>
            <a:ext cx="1046697" cy="51296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nfiguration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llec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911715" y="4155966"/>
            <a:ext cx="542008" cy="51296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Patch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leve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600018" y="1925360"/>
            <a:ext cx="639599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boot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113159" y="3332632"/>
            <a:ext cx="935192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itlement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672775" y="2031529"/>
            <a:ext cx="1002967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emperatur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582226" y="1786230"/>
            <a:ext cx="866450" cy="74892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maining 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ashing </a:t>
            </a:r>
          </a:p>
          <a:p>
            <a:pPr marL="0" defTabSz="430213">
              <a:spcAft>
                <a:spcPts val="400"/>
              </a:spcAft>
              <a:buSzPct val="100000"/>
            </a:pPr>
            <a:r>
              <a:rPr lang="en-US" sz="1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im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388843" y="3794467"/>
            <a:ext cx="2804572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000" dirty="0" smtClean="0"/>
              <a:t>Data </a:t>
            </a:r>
            <a:r>
              <a:rPr lang="en-US" sz="1000" dirty="0"/>
              <a:t>about one of more </a:t>
            </a:r>
            <a:r>
              <a:rPr lang="en-US" sz="1000" i="1" dirty="0" smtClean="0"/>
              <a:t>Things at a specific point in time</a:t>
            </a:r>
            <a:r>
              <a:rPr lang="en-US" sz="1000" dirty="0" smtClean="0"/>
              <a:t>.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000" dirty="0" smtClean="0"/>
              <a:t> </a:t>
            </a:r>
            <a:r>
              <a:rPr lang="en-US" sz="1000" dirty="0"/>
              <a:t>It can contain status,  details, configuration, </a:t>
            </a:r>
            <a:r>
              <a:rPr lang="en-US" sz="1000" i="1" dirty="0"/>
              <a:t>Relations</a:t>
            </a:r>
            <a:r>
              <a:rPr lang="en-US" sz="1000" dirty="0"/>
              <a:t>, basically </a:t>
            </a:r>
            <a:r>
              <a:rPr lang="en-US" sz="1000" i="1" dirty="0"/>
              <a:t>Attributes </a:t>
            </a:r>
            <a:r>
              <a:rPr lang="en-US" sz="1000" dirty="0"/>
              <a:t>which describe the corresponding </a:t>
            </a:r>
            <a:r>
              <a:rPr lang="en-US" sz="1000" i="1" dirty="0"/>
              <a:t>Thing </a:t>
            </a:r>
            <a:r>
              <a:rPr lang="en-US" sz="1000" dirty="0" smtClean="0"/>
              <a:t>instance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66339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4" grpId="0" animBg="1"/>
      <p:bldP spid="27" grpId="0" animBg="1"/>
      <p:bldP spid="28" grpId="0" animBg="1"/>
      <p:bldP spid="32" grpId="0" animBg="1"/>
      <p:bldP spid="33" grpId="0" animBg="1"/>
      <p:bldP spid="35" grpId="0" animBg="1"/>
      <p:bldP spid="36" grpId="0" animBg="1"/>
      <p:bldP spid="3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ship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2435064" y="1447676"/>
            <a:ext cx="1429046" cy="723340"/>
            <a:chOff x="1010710" y="1745224"/>
            <a:chExt cx="1429046" cy="723340"/>
          </a:xfrm>
        </p:grpSpPr>
        <p:pic>
          <p:nvPicPr>
            <p:cNvPr id="1026" name="Picture 2" descr="https://encrypted-tbn0.gstatic.com/images?q=tbn:ANd9GcSAESSAle1z7pt1KTrEEqRDr6EfifgeZDZIHrJq0O21jPhBVKczr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1521" y="2083778"/>
              <a:ext cx="1187424" cy="38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1010710" y="1745224"/>
              <a:ext cx="142904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err="1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Proliant</a:t>
              </a: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 dl 380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55875" y="2916515"/>
            <a:ext cx="1308235" cy="1016245"/>
            <a:chOff x="3400059" y="2848707"/>
            <a:chExt cx="1356739" cy="101624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0059" y="2848707"/>
              <a:ext cx="1356739" cy="1016245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3546006" y="2848707"/>
              <a:ext cx="10648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3Par 7450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21040" y="1857256"/>
            <a:ext cx="1182953" cy="1872154"/>
            <a:chOff x="721040" y="1857256"/>
            <a:chExt cx="1182953" cy="187215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5214" y="2171016"/>
              <a:ext cx="791565" cy="1558394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721040" y="1857256"/>
              <a:ext cx="118295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Rack Server</a:t>
              </a: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2528" y="1447676"/>
            <a:ext cx="775188" cy="10164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00408" y="1447676"/>
            <a:ext cx="761634" cy="131393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466273" y="4044975"/>
            <a:ext cx="24756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32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lationship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3737279" y="2672843"/>
            <a:ext cx="882277" cy="11640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2383284" y="3177474"/>
            <a:ext cx="2006792" cy="106774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 flipV="1">
            <a:off x="2170504" y="2417308"/>
            <a:ext cx="2257476" cy="165707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24" name="Picture 10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0485" y="1578278"/>
            <a:ext cx="1258733" cy="755240"/>
          </a:xfrm>
          <a:prstGeom prst="rect">
            <a:avLst/>
          </a:prstGeom>
        </p:spPr>
      </p:pic>
      <p:cxnSp>
        <p:nvCxnSpPr>
          <p:cNvPr id="34" name="Straight Arrow Connector 33"/>
          <p:cNvCxnSpPr/>
          <p:nvPr/>
        </p:nvCxnSpPr>
        <p:spPr>
          <a:xfrm flipH="1" flipV="1">
            <a:off x="4229886" y="2122976"/>
            <a:ext cx="631516" cy="190492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34" name="Picture 10" descr="https://encrypted-tbn0.gstatic.com/images?q=tbn:ANd9GcQO6fujFqVirKOCeUXFHp17WZeFGe0r7HIwzVh8j3-kbBy2rFtp7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0" y="4043170"/>
            <a:ext cx="1330325" cy="658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Straight Arrow Connector 38"/>
          <p:cNvCxnSpPr/>
          <p:nvPr/>
        </p:nvCxnSpPr>
        <p:spPr>
          <a:xfrm flipH="1" flipV="1">
            <a:off x="1903993" y="3672686"/>
            <a:ext cx="2460365" cy="7413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/>
          <p:cNvCxnSpPr/>
          <p:nvPr/>
        </p:nvCxnSpPr>
        <p:spPr>
          <a:xfrm flipV="1">
            <a:off x="1776046" y="2195810"/>
            <a:ext cx="659018" cy="4035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3864110" y="1856314"/>
            <a:ext cx="420470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1660522" y="2222292"/>
            <a:ext cx="904140" cy="17205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2056393" y="2169328"/>
            <a:ext cx="2006610" cy="20162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697129" y="3027738"/>
            <a:ext cx="966979" cy="9540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51" name="Picture 5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06503" y="2366032"/>
            <a:ext cx="572959" cy="423682"/>
          </a:xfrm>
          <a:prstGeom prst="rect">
            <a:avLst/>
          </a:prstGeom>
        </p:spPr>
      </p:pic>
      <p:cxnSp>
        <p:nvCxnSpPr>
          <p:cNvPr id="52" name="Straight Arrow Connector 51"/>
          <p:cNvCxnSpPr/>
          <p:nvPr/>
        </p:nvCxnSpPr>
        <p:spPr>
          <a:xfrm flipH="1" flipV="1">
            <a:off x="3333638" y="2950213"/>
            <a:ext cx="1183120" cy="9926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 flipV="1">
            <a:off x="3143399" y="2701472"/>
            <a:ext cx="206572" cy="47134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885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epts &amp; Terms</a:t>
            </a:r>
            <a:endParaRPr lang="en-US" dirty="0"/>
          </a:p>
        </p:txBody>
      </p:sp>
      <p:sp>
        <p:nvSpPr>
          <p:cNvPr id="6" name="Can 5"/>
          <p:cNvSpPr/>
          <p:nvPr/>
        </p:nvSpPr>
        <p:spPr>
          <a:xfrm rot="5400000">
            <a:off x="5046954" y="2722655"/>
            <a:ext cx="613658" cy="822314"/>
          </a:xfrm>
          <a:prstGeom prst="can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miley Face 6"/>
          <p:cNvSpPr/>
          <p:nvPr/>
        </p:nvSpPr>
        <p:spPr>
          <a:xfrm>
            <a:off x="751281" y="1590798"/>
            <a:ext cx="718956" cy="722445"/>
          </a:xfrm>
          <a:prstGeom prst="smileyFac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020135" y="2756576"/>
            <a:ext cx="2959542" cy="1302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 err="1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mmunicationChannel</a:t>
            </a:r>
            <a:r>
              <a:rPr lang="en-US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/>
            </a:r>
            <a:br>
              <a:rPr lang="en-US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he Communication Channel is registered by the User with a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rresponding security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level.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 client can use the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mmunication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hannel to submit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ata,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gister things … 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n place of the user. 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s the communication channel is associated with a customer the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ata objects submitted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hrough this channel get automatically associated with that customer instance as well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.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NOTE: Can be viewed also a security context or an  API Ke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818410" y="1522283"/>
            <a:ext cx="2453888" cy="1128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ser</a:t>
            </a:r>
            <a:br>
              <a:rPr lang="en-US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Human User of the system identified by a unique identifier provided by an authentication system. For SA 2.0 this will be achieved by integration with HPP / </a:t>
            </a:r>
            <a:r>
              <a:rPr lang="en-US" sz="800" dirty="0" err="1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tHP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 single sign on capabilities. 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en-US" sz="16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19" name="Sun 18"/>
          <p:cNvSpPr/>
          <p:nvPr/>
        </p:nvSpPr>
        <p:spPr>
          <a:xfrm>
            <a:off x="694858" y="3022356"/>
            <a:ext cx="914400" cy="914400"/>
          </a:xfrm>
          <a:prstGeom prst="sun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818410" y="2826983"/>
            <a:ext cx="2453888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roup Account</a:t>
            </a:r>
            <a:b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roup, Company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r Organization associated with the user. 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ypically the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irst user creates the initial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roup Account 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hich then can be associated with further users. 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ll Communication Channels and Things are associated with the Customer. </a:t>
            </a:r>
            <a:b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ybe better name:  account, collection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, </a:t>
            </a:r>
            <a:r>
              <a:rPr lang="en-US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onstellation</a:t>
            </a:r>
            <a:endParaRPr lang="en-US" sz="16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160705" y="1554061"/>
            <a:ext cx="2453888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omain</a:t>
            </a:r>
            <a:b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solated tenant / part (data and access isolation) of the platform with separate object definitions. 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8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.g. SA 2.0, Boeing, BMW</a:t>
            </a:r>
          </a:p>
        </p:txBody>
      </p:sp>
      <p:sp>
        <p:nvSpPr>
          <p:cNvPr id="3" name="Rectangle 2"/>
          <p:cNvSpPr/>
          <p:nvPr/>
        </p:nvSpPr>
        <p:spPr>
          <a:xfrm>
            <a:off x="4942626" y="1614394"/>
            <a:ext cx="1000974" cy="572572"/>
          </a:xfrm>
          <a:prstGeom prst="rect">
            <a:avLst/>
          </a:prstGeom>
          <a:noFill/>
          <a:ln w="12700">
            <a:prstDash val="lg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96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4170638699"/>
              </p:ext>
            </p:extLst>
          </p:nvPr>
        </p:nvGraphicFramePr>
        <p:xfrm>
          <a:off x="326328" y="1187934"/>
          <a:ext cx="8120062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006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Epics / Featur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ee SA 1.0 data to SA 2.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SADB migra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Insight Online and SA2.0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RS and native SA2.0 client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grate installed base clients to SA 2.0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SDC migration (incl. BLI, </a:t>
                      </a:r>
                      <a:r>
                        <a:rPr lang="en-US" dirty="0" err="1" smtClean="0"/>
                        <a:t>JRules</a:t>
                      </a:r>
                      <a:r>
                        <a:rPr lang="en-US" dirty="0" smtClean="0"/>
                        <a:t>, GDID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A</a:t>
                      </a:r>
                      <a:r>
                        <a:rPr lang="en-US" baseline="0" dirty="0" smtClean="0"/>
                        <a:t> 1.0 client obsolescence (IRS 5.x, IRS 7.x, Direct Connect 1.0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329184" y="235064"/>
            <a:ext cx="8117206" cy="430887"/>
          </a:xfrm>
        </p:spPr>
        <p:txBody>
          <a:bodyPr/>
          <a:lstStyle/>
          <a:p>
            <a:r>
              <a:rPr lang="en-US" dirty="0" smtClean="0"/>
              <a:t>Mig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055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/>
          <p:cNvSpPr/>
          <p:nvPr/>
        </p:nvSpPr>
        <p:spPr>
          <a:xfrm>
            <a:off x="364116" y="1575479"/>
            <a:ext cx="442238" cy="591827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100" dirty="0" smtClean="0"/>
              <a:t>Portal </a:t>
            </a:r>
            <a:endParaRPr lang="en-US" sz="1100" dirty="0"/>
          </a:p>
        </p:txBody>
      </p:sp>
      <p:sp>
        <p:nvSpPr>
          <p:cNvPr id="85" name="Rectangle 84"/>
          <p:cNvSpPr/>
          <p:nvPr/>
        </p:nvSpPr>
        <p:spPr>
          <a:xfrm>
            <a:off x="858513" y="1579234"/>
            <a:ext cx="447959" cy="58807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Mobile  </a:t>
            </a:r>
          </a:p>
        </p:txBody>
      </p:sp>
      <p:sp>
        <p:nvSpPr>
          <p:cNvPr id="86" name="Rectangle 85"/>
          <p:cNvSpPr/>
          <p:nvPr/>
        </p:nvSpPr>
        <p:spPr>
          <a:xfrm>
            <a:off x="347832" y="2405019"/>
            <a:ext cx="257602" cy="159540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Things</a:t>
            </a:r>
          </a:p>
        </p:txBody>
      </p:sp>
      <p:sp>
        <p:nvSpPr>
          <p:cNvPr id="87" name="Rectangle 86"/>
          <p:cNvSpPr/>
          <p:nvPr/>
        </p:nvSpPr>
        <p:spPr>
          <a:xfrm>
            <a:off x="979943" y="3276309"/>
            <a:ext cx="274370" cy="724111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Cloud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655942" y="2982103"/>
            <a:ext cx="303102" cy="1018316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Infrastructure</a:t>
            </a:r>
          </a:p>
        </p:txBody>
      </p:sp>
      <p:sp>
        <p:nvSpPr>
          <p:cNvPr id="89" name="Rectangle 88"/>
          <p:cNvSpPr/>
          <p:nvPr/>
        </p:nvSpPr>
        <p:spPr>
          <a:xfrm>
            <a:off x="981231" y="2412994"/>
            <a:ext cx="273081" cy="826027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Apps</a:t>
            </a:r>
          </a:p>
        </p:txBody>
      </p:sp>
      <p:sp>
        <p:nvSpPr>
          <p:cNvPr id="90" name="Rectangle 89"/>
          <p:cNvSpPr/>
          <p:nvPr/>
        </p:nvSpPr>
        <p:spPr>
          <a:xfrm>
            <a:off x="655942" y="2412996"/>
            <a:ext cx="300824" cy="544696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/>
              <a:t>Control</a:t>
            </a:r>
          </a:p>
        </p:txBody>
      </p:sp>
      <p:sp>
        <p:nvSpPr>
          <p:cNvPr id="75" name="Rectangle 74"/>
          <p:cNvSpPr/>
          <p:nvPr/>
        </p:nvSpPr>
        <p:spPr>
          <a:xfrm rot="16200000">
            <a:off x="5435719" y="2070156"/>
            <a:ext cx="494821" cy="12750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Thing Definitions</a:t>
            </a:r>
          </a:p>
        </p:txBody>
      </p:sp>
      <p:sp>
        <p:nvSpPr>
          <p:cNvPr id="76" name="Rectangle 75"/>
          <p:cNvSpPr/>
          <p:nvPr/>
        </p:nvSpPr>
        <p:spPr>
          <a:xfrm rot="16200000">
            <a:off x="3410831" y="1358922"/>
            <a:ext cx="494821" cy="269749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Things Instances </a:t>
            </a:r>
          </a:p>
        </p:txBody>
      </p:sp>
      <p:sp>
        <p:nvSpPr>
          <p:cNvPr id="77" name="Rectangle 76"/>
          <p:cNvSpPr/>
          <p:nvPr/>
        </p:nvSpPr>
        <p:spPr>
          <a:xfrm>
            <a:off x="5040725" y="1586790"/>
            <a:ext cx="1279917" cy="8474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dirty="0" smtClean="0"/>
              <a:t>Analytics &amp; </a:t>
            </a:r>
          </a:p>
          <a:p>
            <a:pPr algn="ctr"/>
            <a:r>
              <a:rPr lang="en-US" sz="1100" dirty="0" smtClean="0"/>
              <a:t> Reporting</a:t>
            </a:r>
          </a:p>
          <a:p>
            <a:pPr algn="ctr"/>
            <a:endParaRPr lang="en-US" sz="1100" dirty="0"/>
          </a:p>
        </p:txBody>
      </p:sp>
      <p:sp>
        <p:nvSpPr>
          <p:cNvPr id="78" name="Rectangle 77"/>
          <p:cNvSpPr/>
          <p:nvPr/>
        </p:nvSpPr>
        <p:spPr>
          <a:xfrm rot="16200000">
            <a:off x="2475685" y="1405954"/>
            <a:ext cx="862803" cy="119518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Search</a:t>
            </a:r>
            <a:endParaRPr lang="en-US" sz="1100" dirty="0"/>
          </a:p>
        </p:txBody>
      </p:sp>
      <p:sp>
        <p:nvSpPr>
          <p:cNvPr id="79" name="Rectangle 78"/>
          <p:cNvSpPr/>
          <p:nvPr/>
        </p:nvSpPr>
        <p:spPr>
          <a:xfrm rot="16200000">
            <a:off x="3846223" y="1267130"/>
            <a:ext cx="857325" cy="14642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Data Processing &amp; Transformation</a:t>
            </a:r>
            <a:endParaRPr lang="en-US" sz="1100" dirty="0"/>
          </a:p>
        </p:txBody>
      </p:sp>
      <p:sp>
        <p:nvSpPr>
          <p:cNvPr id="15" name="Subtitle 1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lected technologi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uriosity Architecture Component Stack</a:t>
            </a:r>
            <a:endParaRPr lang="en-US" dirty="0"/>
          </a:p>
        </p:txBody>
      </p:sp>
      <p:sp>
        <p:nvSpPr>
          <p:cNvPr id="12" name="AutoShape 14" descr="data:image/jpeg;base64,/9j/4AAQSkZJRgABAQAAAQABAAD/2wCEAAkGBw8QDxQQDxQQFBQVEBAVFBAQFBUUFxQUFRQXFxYUFBQYHCggGBolGxcUITEhJSkrMC4uFx80PDMsNygtLisBCgoKDg0OGxAQGiwkHyQuLCwsLCwsLC0sLCwsLC8sLCwsLCwsLCwsLCwsLCwsLCwsLywsLCwsLCwsLCwsLCwsLP/AABEIAMIBAwMBEQACEQEDEQH/xAAbAAEAAgMBAQAAAAAAAAAAAAAAAwUBBAYCB//EAEYQAAIBAgMEBgUIBwYHAAAAAAECAAMRBBIhBTFBUQYiYXGBkRMyobHBFCNCUnKS0fAzYmNzgqKyByQ0U4PxFkNUZJOz4f/EABsBAQACAwEBAAAAAAAAAAAAAAABAgMEBQYH/8QANhEAAgECBAIIBQMFAAMAAAAAAAECAxEEEiExUXEFEyIyQWGRsRSBocHwIzPRBkJSYuE0gvH/2gAMAwEAAhEDEQA/APuMAQBAEAQBAEAQBAEAQBAEAQBAEAQBAEAQBAEAQBAEAQBAEAQBAEAQBAEAQBAEAQBAEAQBAEAQBAEAQBAEAQBAEAQBAEAQBAEAQBAEAQBAEAQBAEAQBAEAQBAEAQBAEAQBAEAQBAEAQBAEAQBAEAQBAEAQBAEAQBAEAQBAEAQBAEAQBAEAQBAEAQBAEAQBAEAQBAEAQBAOU6YdL2wFWnTFIVM6Fic+UjW1gMpvx4zXrV+raVjsdG9E/GQlPNaztsVOH/tNok/OUsQv2RTYexrzEsZHxTN2f9OVkuzKL9f4LfC9PsDUFqfp2cC/oxSYMfE2UeJEzRxNOWxz63QuLpayStxujc2Rt+piK+T0IpplJu9TNUuOBRRlH3jLRqZnYwV8E6NPM3qX0ymiIAgCAIAgCAIAgCAIAgCAIAgCAIAgCAIAgCAIAgCAIAgCAIB8o/tWe+Npjlhk9tSp+E52M765HtP6dVsNJ/7P2RxRmoegRddEV+dqHlTX2sfwmWjuzQ6Sf6cef2Po3RNfnmPKmfaRN6jueV6Sf6aXmdZNk4ggCAIAgCAIAgCAIAgCAIBiAIAgCAIBmAIAgCAIAgCAIAgCAIB8i/tPa+0O6hSHtc/GczF/ufI9v0ArYT/2f2OQM1juIv8AoeutU/ux/UfjM1HxOd0k9Irn9j6P0RXrVD+qg8yfwm9R8TynSb0iuZ002DkCAIAgCAIAgCAIAgCAIAgGIAgCAIAgGYAgCAIBiAIAgCAIAgCAfHP7R2vtKr2JSH8gPxnLxP7jPddBq2DjzfucuZrnYOk6HjqVD+0A8lH4zPR2Zy+k32ory+59I6Ir1ah5so8gfxm/R2Z5TpJ9qK5nQTMcwQBAEAQBAEAQBAEAQBAEAxAEAQBAEAQBAEAQBAEAQBAEAQBAPivTx77SxH2qY8qSTlYj9xnveh1bB0/n7s54zCdRHU9E1+YY86rewKPhM9HY5HSL/US8v5PpHRRbUWPOof6Vm/R2PKdIu9Vci6mU0BAEAQBAEAzAEAQBAEAQBAMQBAEAQCN66Dew85NmRdHpXB3SCT1AEAQBAMQDMAxAEAQBAPiHTBr7QxJ/bEeQA+E5Vb9xnv8AoxWwlPkUpmE6COs6LD+7L2vUP85HwmzS7pxukH+s+S9j6T0aW2GXtZz7bfCb1LunlMc71n8i1mQ1BAEAQBAEAQBAEAXgHl6qjeeF/CAQnHU+fsMtlZXMjWxG26CeuwH2iq+8ycj3IzrY0K/SzDKCVZGI3KHGvju9sjKuJN3wNJulrsCUGHAAJ61XM2nJEBLHsEtGGZ2REp2V2aDdJsXU/Riuf3WEdf567IPZMvUW3aXzv7GLr77Jv5ELvtCrvWoP3+KRLfw0Eb+qTkpreXov/gzVHtH1Zs/J8cw6+IpUx+wo3P8A5KrEeOWTnpraLfNlclR7tLkWWw39GptWqVwW1Z2RrHiFyKAvdMc2p+FjJG8fG50FGuGFx+e+YWrGVO5NeQSIAgC8gCSDEAXkAXkgSAfCekb5sbiD/wBxW9jkTlVe++Z9CwKthqa/1XsVpmM3Edl0eFsNT7ifNiZtU12UcHGyvWkdjg9qPToItNFYjfmYi4JJ0IGh17Zv0ksqueVxjbqysWuA2zSqnKbo/wDl1ND/AAncw7jMjg0rrVGspp6PRljeULiAIBmAIAgCAIAgGri0+kNSOHMcR4iSgcd0oXEhh6PN6EqCCl7m/wBa2vwm3RcGtdzSrqaemxyzDn7ZtbmpezIWoA8SByFvfMHw8b3NhYmVrMmobCVuucMr21L13rBQOZJe0lynFWjK3JIJRk7yjfmzpKuLYUUp4erQVxo1qVSuoFtyAMN3b7JgdOT3+pnVWC2+hCuExlTfWxzdlKnRwy+ZBcecjq0t5E9Y3tFklLonnINWir66/K69aubceqxy+yQ+rXjclOo/BI6PCbKp0ly01p01+rTUKPIACUzLwL5WbdFVU3De0WMq3cso2NynUlSxLeALyAUfSXbVTDZVpqpLBjmY7rW3Lx385rYjEOlZJbnPx2NeHypK97nHYnatSq2apUYnhc2A7raDwmp8Spbs53x0Zu8pev5YnpdJa1LQVS36rEMPFju8NeyZY1peDNiOLmtnc6TBdI2eirlFLa5spsBqbaandOhRWeKb8To0qzlBSsRf8Qu1wLAai6g5geYzaX7xaTUnSp7vXgZYKpPZaFBUG1s+enjBU1PzdVBSUjkTTB13bgJEcdh5K0qbXmnf3sQ8LXjqp35q3sfNNoY8mvVzb/S1L2N9cxvrOPN3k2j6VhY2owX+q9iJcZeVNg+hbEFsNS/dofMXm3T7qPOYqV60ubOjw1QFRYg6AaEHW27Sb0dEjzFZ3qSfmz3UQMLMARyIvLJtaoxNJqzJcNiq9GwptnUf8usSfu1PWHjeXzRl3l6fwUyyj3X6/wAlthtu0WOWpek3AVNFP2X3Hu39kjq3utSesWz0LS8oXMwBAEAQDMAQDyRAK+th9cvMllPb9JfHf5yydirVyA4IHfY+F5bOVyENZsLR/SVKVP7TInvjOyciKvEdLNlobfKaDnlTL1j92mDeRmGUjXpQjD+74bHVRwNPClF+9Vy2jMTlJsHtqsxc18M9KmlNnJbEUXfTcPRIdL7tTvtJtJ+BDcVuzh9tdJtr1mIoJ8np8BTamXI/WqE7/s28Zfqaj8PYx9fTXj7nKbQ2fjqiNUr+kcKLl6tUOBy1LHXskdRO9rFuvha9z6RV6UKqKmGW4CKA77rAAAhR2dsq5W0JUb6lbS23ixUDrUfNcWUbj2ZBofKUbuXWh9M+WFKJqVBYrTzui8wt2C9u+TGOZpIrOShFyfgcjj+l9SobUvmh26sfEi3l5zc+Ecd9TmPpFT0joUuLxdSpYuzNa9ixJ9843SqScbef2OdjpOWW7vuaxachmhYrWRGtc8BxnRpO0FyN+ELxR1exTloIFJ0B1/iM69HWmjq0OzTVirbF1VY2PE754N1pxk3Fvdnq4xi4q6Jzt9qaM7KGyo7WBtfKpNr8N02qGNqOSi0ndpFZUY20Pl1dszsx3lmPmTOmz2EZZYpeRhRILRldn1bAC1JBypp/SJvRWh5mrK82/MvHw6MBmUE2AvuNvtDWbi0R52WrbJKOGLMER2BO4ZgdB9q8kq2kXuG2IoW1R2Zr79BbsFhY+UBMjrbCJuFZSp+iy+8jf5RckralOphGVKdQUy1ytO4dSF3kUybhRputvHOXz37yuYsqWkXb84G7Q2+V0r0yP2lG7r4p6w8AYyp91+pOaS7y9Py5b4bF06gvTZW7ju7xwlHFrcupJ7E0gkXgGYAgCAQ4incab94PIjdANY1ARm3b79hG8fnnAOa2nsalXrmqVwZJCgO+FWrUsBpctobcJli4Jar6mOSm3o16GxR2Y4FhUrgcqNOnQH8ok9ZFbRXuV6uT3k/Y1cWuCp/4irTv/wBzirn7uYS8ZVZd1eiKOFJd5+rNNekmy6ZK0mpuxBBXDYd6pYHeubLqD3y3U13rL6shVaMdI/RGNj4SjiaxyYXG0ksSHxKZadxwALZrHtvJqSnGPfXy3K04QlLuv57FZ0v6LVqjBq+KpUqI/R0hSfKvb1dGbt90mjiYUl3deNyK2GlU/usuBN0c6IU3oj+8F1BI6tIobfxE+dpgqzU5uSVrmxSg4QUW72Or2fsfDYY3VRm+vUN28OXgJjsXbJNo4i9JwFc3puL5bAdU69a3smSmu0jDWl2JLyZ83q6jq6907NzzBBgqnztQcMlGw5G9S/unm+nP3IcvuRJdlc39jbZpw2Y2jj22/kcq6ggMRmBtuPbvM6lKHZXI7lKheCtwR3mx9o02oIVO9L66e+dSlFqCOhDC1VBdm5rGqDPnzWp6GLK/a3+HrfuavtUibVCP6kOa9zLLY43KDrOrJ6noHLU9oglUZIS1PqFEaADfYCdRI8zOW7KWj0lxmDYUsdTZhbQsQGI5rUsEqDu8525YanUV6b/PdHko4mpT0qL89ma/SnatLEvSaibhUbeCCrFt3sGomvGnKm2pGvjqsaji4+f2IsB0kx1D9FiKwH1Wb0i/de4HhJcIs1YYirDaTOo2P0/x1VxRZaBZ7hauVhlNvWZA1mty0mN01ubdLHVG1Fpal3QwpuzXd6jWNSsxXMQOZNgFFzZRYC+gmOWxv0tZXZOHS9s6k8qd6p/kBHmZQ2T18gznMtGrm4VGcUCO5ku3ul1NrYrKClui7wSYgW9IyWA3AMT4ux1Mo2WSsb14B7gCAIBgwDRqple/0XsD2NwPwkkFFtDYFerVZvluLpoTpRo5Ey6agPa5F7zNCtGK7ifMxSpOT7z+Rrf8DYRh8+2Lr8/T4iof6SJb4qa7qS5Ir8NC3abfNk9PorgEUrh6GGWpbqsyLVseF81zKSr1XvJllRprZI16qfJyEq4ipUa2mFwaLSv9pk9Ve2475ChKWr24smVSMdFvwRnEtVrgLUJSnb9BTO/94+9vPWTnUe7vxIcHPvbcCWjXNJbIcigeqNFA7t0xNtu7MiSSsjaXarWu6qRa9/V093sgkmw+2KTDq3XW2q6HuI4dskq0Q46qXRgpBuCOqb7xLxlZ3MU43TRwOMwNVTqvih18p0Y4iD3OJPBVI7alVQqMK1S4v1KO/Q76k4nTLTnFrga1SEoxV14v7Gw2KHceTae2cWxgexx4wC1DnIfMbnNvGp7eHdPZYXA05UISTs2kfRsFgKUsPBq6bitd/A6bZ2Kp0qSoxtlW1yNPZeWqYaVODfgkbjwkoR0d7F16IcJ83cTVTsVu3Fth6v2bfeIHxmbD/ux5maMrtI5FaRnVcD0Vrsmw9PrqP1lHtkRjqizVot+T9j6PRfXxnSh3keWqu0JcmWT0SyZaqqaZ3rWChO/r7j2jWb+dJ3T1OFkbVmtDg9v4SjSxBWh6mVTo5qAMd4VjrbdxPfMim56s5OMgoVMq4GgJJqF50RpXxankrn2W+MpPYzYZfqI+m7NwdOrf0ihgtrBhfXXWa8jt0FuXNOkq6KAO4WlDYJQYBm8A9Xkg9wQYgCAIBHVphgQeMXBqnAXPWqVT2Bsv9NjJzEWNPaGKweHtnGd/ooAalQnsBuR3mXjGUuRSU4x5lXicfiK621w6fUpkZyORcaL4ecm8IPTX2K2nNa6e5pM9DDqdygamwLMb/SNrk98q5Sm9S8YxgtCKitd2Z2Zqam2RLKWtrcuDcC9xpv0362EOyJ1Z7qYJWFqhdwDezHS/aFAv3G8i5NiN8Lhr6pQueapc+BEh1LLVkqm3ql9Dw+Fw5+hSva1wqg2HIgTF8TT/AMkOqlwMIirqp1PEnXTcL8oVem9pL1IdOXA09rbcTDgelZWJ9WmxBJ89w7ZsU6cqndNerOMNyhwvSJazinUwrFmPV+TsHv25HANhzv5S9XBpq9/U1s6n2ZRLLF7HpkkI4B+q3u109s50sEnsVl0fTls7HOVuj+JoKMoLADeuoPh+E7+GxEIQjB+CseuwWJhClGm3skirxTsBldSDdez6Q4HdM+Jqp4eduD9joSnGVOTT8GdglYN6pv7/ACnzVo5VjQ6QtbDMP16P/sWZcKv1V8/Yy0f3I817nMhp1j0iBq5Ov9UhrdxvK7akVnalLkzquiu2hi66UbMjsdMranQm6kajdv8Awm1Cp4s8vW7rO/TY9OmbvTJP16l2P3jebCqX2ZzrI+edLDmx1a1rAoBb9Wmo995uUu4jgY53ry+XsVirMhqHQ9DE+eduVO33mH4Sk9jYwq7bfkfSdjGyE829wmvI7NHYsQ0qZj2GgHoGAZvJBNIIMSQJAMQCt2ltqhQ0Yln4UqYzOfAbvGZI05S18DHKpGOnjwKXEbSxNcEf4dTwQg1CO1rWU91++WvCG2vsVtOe+nua+HwtOnfKLE+sx1ZjzZjqfGVlOUty8IRjsSH88ZQuVO3nzCnh9AK1XKWN9AgNQgAfSOSw17ddxvDxfArLwXExtLbSUiVXrPx4Ad/b2TXnVUdDoYbAyq9p6L3KHE7TrVPWYgfVXqj2b/GYHUkzrU8JSp7L11NRXINxvBvftlDPKKkrM6PC1g6BuY1HI8ROZNZZNHInBxk4sjxOLVNN55D4nhNvC4GriNVpHi9v+kxptq+y4lXiqTV/0iBhwDABR56+M7NGWEwa7Ms0vG35Y1K+NwFNZZvO/JX/AOfUn2VhkwqMtNUXMSWdb5rfVzE7uwWmKWPVSfaVkcH4ujn7EMqfnf8AETlbzbNs1Ux6hitNmJBs3o7lQfqlhpm7N8htF02ieqyuLVUpv9oAHzExyjdWMsa8ka1XCUW1UvTPb1h575zKvR0JbGzDFvxKvbWBxD0itPLV6yGykXspvuNj75rU8BOnPMbuHxMM6b4nL1KhQ5aitTPJwR5GZmmtz0dOrCesXc95DUKoCB6SpTpht4Gdwt7cbXvKTlli5cE36K5GLnloSfkdx0N6J/IsfSxBqB6aGoWcgh7tTZQSNRx4GcxdKRk+3p9UeWnUzRPr1GujjqsrdxvOhRrQmrwafI1Wj4j0iqBsZiCN3yirbuDEfCd+j3FyPO4l3qyfmV8ymA6foctlqNzZB5An4ykzbwi3Z3uzXtTHj75gludan3TfV5UyEgeASBoJPV5JBsQDBMAp8f0joU2KJmrVB/y6IzW+025fEzLGlJq70XmYpVop2Wr8iqxWLxNcWZjRXjTokZu41Le60ZoR2V+f8EZZz7zty/khw+Fp0xZFAvvPEnmWOplJTlLdmSMIx2RKfzeVLHkn8jWARVqoVSxtYAknhoL6wSc/Xq1Kw9OxsiB3pL1es2Wy1TbcACxGutwdN0io8kXbcz4Wl1tWKexREzQPT2MXgWMEwHZK7NzA4soCpuFJvcbxM6wafbkrvh+aeuh5XpDpNTqWo6W/ute/y4evI31SwzKAV+uuo8TwPfLdXHESyur2v8ZKz+Svb0ODiViZ9qpJyXHdf89EPSdntkvoqqtmvr/BpWMh76ANc934zFLo7ELw+qFmaVdBVqvmc+jzdWknUUjT1yDdtb6aCxsQZu0nLIs2524S7K4m9SpqqhVAAAsFUAADkAN0yFrmWSQyyRrDBgEm7dxNwL77X8JFibnl8PJsWTPLqcpD2K8RUGYW8ZSUI21MsKs09GeB0cw4VK7UvRVA6siUmIzMrZlum4bgeyaVajGUWuOnqbrxtZwyOV0y+w7uAPSA+G7ynmq3RdWPc1MGZHraWNCYas6nVKNVhbQghCe8TQhRnGtFNNO68vEN6HzqkbKByAHsn0eOyPLz1k2ShpcodV0ZYLQvzdj5WHwmOe5uYbSJ2WBfqL3CYWdSGxYU2kF7k6GCSZYB7gGcXiHTVUzjjY2PhzgFHjsL8re3p6gH/St813gldX87TJGplWi14mKVLM9W7cCD5F6EZQmQcAosPZvlXJyd2zJGKirJGNe/ukEi/wDsYBgyCSNoJKPa9U1nOFTdlVq72BApkkej10zPYjjpm7JZaLMQ1d5fU1do1BlyXsLWHZyt7JhlqjcoPLNNHPlypy1LA8GHqt3Hgew+2aT03PSw7avE9MwAuYWpEmopt6JBATqdOQ+J7Z0KNDLq9zyHSfSjrvq6WkPf/n4yS82DikuGxT0zmQ25jeD2EcZgr4anXjaa+fijJTqypu8S6wNWjiDlt6Kob7j1WsLnLfQ87b++cupiMZ0frmzQ89flxXsbSp4fE+FpeX5qa2MvTZkuDb6YuLgjgOH53TvYHGfF0Osy21tb85nMrUXRq5b38SuwlS7H7R98176s3od1FvSEvcyJHqjTqAnMVI1tYWOp4+6SkXuSlZaxFzy6gAk7gLk79JDstyyuywwWy16teoGtYGnSIsSx4kX1PLlrNeUrmxFWN4YIls76twHBRyH48ZSxa5l8NK5EVuaON2eHUqwBBFiDqCO0QqUd7FWznMX0XQ6pdT2ajyM2YzZpTwsJbaFVX2BiU3LnH6u/yMyKaNSeEmttS52TsuqUUOrKB9Ei17m+srKWpsUKLjFXOu2ejKAJQ2kW9GQXTNpFgm5KqwTc9WkEmyRBJrYnBU6gsygwDUbC1qYtTbOv+XV6w8G3iAadQUSbOGoN26of4uHjaARYjAuovYMvBl1HfANQ9nkYJKyvjXeo1GhYFCoq1GvanmAYBRbrMQe4ceRtbS7IvrZHihglo0wi3O8s7G7OxN2djxJNzKyd3cvFWVjkuk+2KVHS+Zr2su5T+s24d2+ZIYeUyJYuFJ8Tlq23Hr9UaC9sq3u3j8JgnRUNzs4TFOok4m6gKejBJvrfXQGxtpu0mPCRj1rsvAr/AFJUn8FFX/uV/R6G18rfn5gTp5UeDzz4ng42pzHkIyojrJ8QMU/OLIZpPdm/sCsflVInfmfX/Tec3pb/AMWXy9zcwKtVLDbNUmuQt75V/Jl+hWlhXf8AyfsjLioOVZW4fdmMNQZACBm1F7b7cxzM3JRXgZoouMKDYFhlPI8P/sKNizZtKkWB6VPyYbtuWSvoix2Xsck+lrAZQwNOnYakbnbXUneOU15SbNiMUi79DrmO/wBw5CULg0oIPDUoIImw8kgjOEEkiwXCgcJIsSrRgWJ0pCCtjYSnAsTKsEkiiCT3aATSCwgGLQCOpRVhYgGAV7bNKG9BmQ/VGqnvU6QDVxDf9RS/1aPvK7/fAuV6bKRFqVMLarmYu6oRnZrAahiNbADUiTu0mxsm0j5x0l27iy5phPQgA5qDZkqkWN817G2l7rp2mdKjh6aV9/Pw/OZza+JqN2Wi4eP5yKvYnRbEYpfSU81Gj9KpV1QjjkGmc+Fu2XrVYw0erK0KMp6rRF23RrDUVy0lJbjXb1j9m2ijsnOqxdXvHXw1b4f9spdpbMakPSM6hVNyW43BAAtvJJFhxmKlR6uea+hm6QxvxWH6rLrdPyIcPg8RlBNNgTc5Ta4B3Ai+mk276anmpYed9D02Cr/Ub2fjJUkyrw9ReBJT2bXPC3efwi5aOGkWOz9lVEcOSbi9so5gj3EzBXpRrQyS2NujT6t3L2hgxv3nmfiZWFNU1ZaI2O8b1Khb8/n825TLG/iQ/InVJcgPZRcmwH5AA4knhIcrbkqN3oW2x9kF8tautgLGnSa1wbeu3bru4TWlK7NmMbI6HJKFzBWCDGSSDyUgGPRwQY9HAMejkgyEgHtVggkUQCRZJFj2IB6tBJLIJEAQSYgCAeGUGCCvxWyabHMt0bg6HKfMSbgr8dhHKhcTSpYqmCCM6rnFuIuLH2S0ZOPddirSfeVyGvRpYg2p1CjAaUaoy27FH4XkxnbdESjfZlbi9nVKfrqQOe8ecyqSexikmtyvfZCVGVyouhupP0TYi4HOxOsSaW5EU3sSPh1XRRfm0hRctyG0tiD5KDMlih6GEEgEgoASHoWSuYqYFalgb3BuCpsQeY5eP+1WvFllwRtjCpTTKN/L8T8eMiLbemxaUUlrueGYKLtfwFyTwCgbz2S0molIxci82Ls1wueuF1a6UwNw4Zid54zXlJtmzGKReZZUsLQDFoAywDGWAYywBlggxlgDLAMhZIPQEA9CAehBB6tAJYJEAQBAMQSYgCAeSIINTF7PpVRZ1Bk3FjRODxFL9E+df8ur1tOQbeIINOp8nY2qq2HfnvQ+O7ztLqbXmUcEyHEbHqKMy2deDJrp3fheZVUTMTptFe1Pn/tLlDy6sASupsbKTa54DNw9sA9YamzAZhY2Fxe4B+1x/PfMb01ZdK+iNliEFl38TKqLlqy7koaI8UqRY/GWlJRRSMXItdl7HFNvTVutUNwii4Cre4spJ13XM122zYSSLtV4nf8AnQSCx6tAFoBi0AWgC0AxaALQBaCBaSBaAZAgGQIBkQDMAlgCAIAgCAYgCAYgkxaCBaARVcOrCzAHvgFa2yTTObDu1M/VGqnvU6SbkWIa9XhiqV/2tK/tG/3yybWzIaT3Nc7KVxmw7q4+qTYjsPb32mRVeJidLgauIDJ1SpTv+B4xGKbu3cSk0rJWI8PhSxFr79w4+EmdS2hEKd9S+w+GWiAWF3PqoOH55zXvc2ErG9RpH1m1Y+zsHZIJJYAtAFoAtAMWgC0AWkgWgGLQBaAZtBAtAFoBmAZgEkAQBAEAQBAMQBAEAxAEAQDyyA74BX4jZKMcy3RuDIbHzEm5BC5xCDLUVaydoAb8DHIcz1RxFJRekjZzplYEZe88u6QSbWEw5HWc3Y7z8ByEA25BIgC0AxJAkAQBaAYkgQQLQBaAIBmAIAgGYBJAMQBAEAQBAEAxAEAQBAEgAyQYgGDAI8ovuEAkEgkSQZkAxJAkECCRJIMSCTIgCSDEEAQDMAxAEAzAEEn/2Q=="/>
          <p:cNvSpPr>
            <a:spLocks noChangeAspect="1" noChangeArrowheads="1"/>
          </p:cNvSpPr>
          <p:nvPr/>
        </p:nvSpPr>
        <p:spPr bwMode="auto">
          <a:xfrm>
            <a:off x="286999" y="-1157488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2314595" y="2988069"/>
            <a:ext cx="4006570" cy="59849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Data Lake </a:t>
            </a:r>
            <a:endParaRPr lang="en-US" sz="1100" dirty="0"/>
          </a:p>
        </p:txBody>
      </p:sp>
      <p:sp>
        <p:nvSpPr>
          <p:cNvPr id="45" name="Rectangle 44"/>
          <p:cNvSpPr/>
          <p:nvPr/>
        </p:nvSpPr>
        <p:spPr>
          <a:xfrm>
            <a:off x="1504974" y="1564119"/>
            <a:ext cx="652702" cy="244940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rtlCol="0" anchor="b"/>
          <a:lstStyle/>
          <a:p>
            <a:pPr algn="ctr"/>
            <a:r>
              <a:rPr lang="en-US" sz="1100" dirty="0" smtClean="0"/>
              <a:t>Curiosity API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440647" y="2448281"/>
            <a:ext cx="428216" cy="759481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/>
              <a:t>Onboarding </a:t>
            </a:r>
            <a:r>
              <a:rPr lang="en-US" sz="1000" dirty="0" smtClean="0"/>
              <a:t>UI/API </a:t>
            </a:r>
            <a:endParaRPr lang="en-US" sz="1000" dirty="0"/>
          </a:p>
        </p:txBody>
      </p:sp>
      <p:sp>
        <p:nvSpPr>
          <p:cNvPr id="53" name="Rectangle 52"/>
          <p:cNvSpPr/>
          <p:nvPr/>
        </p:nvSpPr>
        <p:spPr>
          <a:xfrm>
            <a:off x="1535043" y="2518607"/>
            <a:ext cx="229382" cy="5710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/>
              <a:t>access 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535043" y="3244988"/>
            <a:ext cx="221605" cy="6411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/>
              <a:t>register</a:t>
            </a:r>
          </a:p>
        </p:txBody>
      </p:sp>
      <p:sp>
        <p:nvSpPr>
          <p:cNvPr id="58" name="Rectangle 57"/>
          <p:cNvSpPr/>
          <p:nvPr/>
        </p:nvSpPr>
        <p:spPr>
          <a:xfrm>
            <a:off x="7857211" y="1579234"/>
            <a:ext cx="442238" cy="2434287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Business Units</a:t>
            </a:r>
            <a:endParaRPr lang="en-US" sz="1100" dirty="0"/>
          </a:p>
        </p:txBody>
      </p:sp>
      <p:sp>
        <p:nvSpPr>
          <p:cNvPr id="59" name="Rectangle 58"/>
          <p:cNvSpPr/>
          <p:nvPr/>
        </p:nvSpPr>
        <p:spPr>
          <a:xfrm>
            <a:off x="7225211" y="2442415"/>
            <a:ext cx="442238" cy="76534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On Boarding </a:t>
            </a:r>
            <a:endParaRPr lang="en-US" sz="1100" dirty="0"/>
          </a:p>
        </p:txBody>
      </p:sp>
      <p:sp>
        <p:nvSpPr>
          <p:cNvPr id="60" name="Rectangle 59"/>
          <p:cNvSpPr/>
          <p:nvPr/>
        </p:nvSpPr>
        <p:spPr>
          <a:xfrm>
            <a:off x="7225211" y="1576353"/>
            <a:ext cx="442238" cy="83463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/>
              <a:t>Data</a:t>
            </a:r>
            <a:r>
              <a:rPr lang="en-US" sz="1100" dirty="0" smtClean="0"/>
              <a:t> Analysts</a:t>
            </a:r>
            <a:endParaRPr lang="en-US" sz="1100" dirty="0"/>
          </a:p>
        </p:txBody>
      </p:sp>
      <p:sp>
        <p:nvSpPr>
          <p:cNvPr id="61" name="Rectangle 60"/>
          <p:cNvSpPr/>
          <p:nvPr/>
        </p:nvSpPr>
        <p:spPr>
          <a:xfrm>
            <a:off x="6433092" y="1579234"/>
            <a:ext cx="428216" cy="831751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t"/>
          <a:lstStyle/>
          <a:p>
            <a:pPr algn="ctr"/>
            <a:r>
              <a:rPr lang="en-US" sz="1000" dirty="0" smtClean="0"/>
              <a:t>Analytic</a:t>
            </a:r>
          </a:p>
          <a:p>
            <a:pPr algn="ctr"/>
            <a:r>
              <a:rPr lang="en-US" sz="1000" dirty="0" smtClean="0"/>
              <a:t> UI/API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>
          <a:xfrm rot="16200000">
            <a:off x="3620279" y="2224248"/>
            <a:ext cx="189736" cy="14877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000" dirty="0" smtClean="0"/>
              <a:t>aggregate</a:t>
            </a:r>
            <a:endParaRPr lang="en-US" sz="1000" dirty="0"/>
          </a:p>
        </p:txBody>
      </p:sp>
      <p:sp>
        <p:nvSpPr>
          <p:cNvPr id="64" name="Rectangle 63"/>
          <p:cNvSpPr/>
          <p:nvPr/>
        </p:nvSpPr>
        <p:spPr>
          <a:xfrm rot="16200000">
            <a:off x="4334817" y="237925"/>
            <a:ext cx="179028" cy="411034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000" dirty="0" smtClean="0"/>
              <a:t>analyze</a:t>
            </a:r>
            <a:endParaRPr lang="en-US" sz="1000" dirty="0"/>
          </a:p>
        </p:txBody>
      </p:sp>
      <p:sp>
        <p:nvSpPr>
          <p:cNvPr id="65" name="Rectangle 64"/>
          <p:cNvSpPr/>
          <p:nvPr/>
        </p:nvSpPr>
        <p:spPr>
          <a:xfrm rot="16200000">
            <a:off x="5778105" y="2347489"/>
            <a:ext cx="184744" cy="121804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000" dirty="0" smtClean="0"/>
              <a:t>augment</a:t>
            </a:r>
            <a:endParaRPr lang="en-US" sz="1000" dirty="0"/>
          </a:p>
        </p:txBody>
      </p:sp>
      <p:sp>
        <p:nvSpPr>
          <p:cNvPr id="66" name="Rectangle 65"/>
          <p:cNvSpPr/>
          <p:nvPr/>
        </p:nvSpPr>
        <p:spPr>
          <a:xfrm rot="16200000">
            <a:off x="3071708" y="2871470"/>
            <a:ext cx="390974" cy="19143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Security </a:t>
            </a:r>
            <a:endParaRPr lang="en-US" sz="1100" dirty="0"/>
          </a:p>
        </p:txBody>
      </p:sp>
      <p:sp>
        <p:nvSpPr>
          <p:cNvPr id="67" name="Rectangle 66"/>
          <p:cNvSpPr/>
          <p:nvPr/>
        </p:nvSpPr>
        <p:spPr>
          <a:xfrm>
            <a:off x="6440647" y="3234425"/>
            <a:ext cx="428216" cy="779097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t"/>
          <a:lstStyle/>
          <a:p>
            <a:pPr algn="ctr"/>
            <a:r>
              <a:rPr lang="en-US" sz="1000" dirty="0" smtClean="0"/>
              <a:t>Monitoring &amp; Mgmt</a:t>
            </a:r>
            <a:r>
              <a:rPr lang="en-US" sz="1000" dirty="0"/>
              <a:t>.</a:t>
            </a:r>
            <a:r>
              <a:rPr lang="en-US" sz="1000" dirty="0" smtClean="0"/>
              <a:t> UI/API</a:t>
            </a:r>
            <a:endParaRPr lang="en-US" sz="1000" dirty="0"/>
          </a:p>
        </p:txBody>
      </p:sp>
      <p:sp>
        <p:nvSpPr>
          <p:cNvPr id="68" name="Rectangle 67"/>
          <p:cNvSpPr/>
          <p:nvPr/>
        </p:nvSpPr>
        <p:spPr>
          <a:xfrm rot="16200000">
            <a:off x="5102538" y="2802600"/>
            <a:ext cx="390974" cy="20462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 smtClean="0"/>
              <a:t>Logging &amp; Monitoring</a:t>
            </a:r>
            <a:endParaRPr lang="en-US" sz="1100" dirty="0"/>
          </a:p>
        </p:txBody>
      </p:sp>
      <p:sp>
        <p:nvSpPr>
          <p:cNvPr id="69" name="Rectangle 68"/>
          <p:cNvSpPr/>
          <p:nvPr/>
        </p:nvSpPr>
        <p:spPr>
          <a:xfrm>
            <a:off x="7225211" y="3244988"/>
            <a:ext cx="442238" cy="76853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sz="1100" dirty="0"/>
              <a:t>Operation</a:t>
            </a:r>
          </a:p>
          <a:p>
            <a:pPr algn="ctr"/>
            <a:r>
              <a:rPr lang="en-US" sz="1100" dirty="0"/>
              <a:t>Support</a:t>
            </a:r>
          </a:p>
        </p:txBody>
      </p:sp>
      <p:pic>
        <p:nvPicPr>
          <p:cNvPr id="1026" name="Picture 2" descr="Bild in Originalgröße anzeig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483" y="3224547"/>
            <a:ext cx="1010140" cy="237383"/>
          </a:xfrm>
          <a:prstGeom prst="rect">
            <a:avLst/>
          </a:prstGeom>
          <a:noFill/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889" y="3710487"/>
            <a:ext cx="609782" cy="198303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0013" y="1630371"/>
            <a:ext cx="468387" cy="210774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grpSp>
        <p:nvGrpSpPr>
          <p:cNvPr id="26" name="Group 25"/>
          <p:cNvGrpSpPr/>
          <p:nvPr/>
        </p:nvGrpSpPr>
        <p:grpSpPr>
          <a:xfrm>
            <a:off x="4138309" y="1346600"/>
            <a:ext cx="686065" cy="434426"/>
            <a:chOff x="3569841" y="3008161"/>
            <a:chExt cx="848290" cy="1306842"/>
          </a:xfr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569841" y="3008161"/>
              <a:ext cx="848290" cy="595068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3575363" y="3528027"/>
              <a:ext cx="831245" cy="78697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050" b="1" cap="none" spc="0" dirty="0" smtClean="0">
                  <a:ln w="6600">
                    <a:solidFill>
                      <a:schemeClr val="accent2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dist="38100" dir="2700000" algn="tl" rotWithShape="0">
                      <a:schemeClr val="accent2"/>
                    </a:outerShdw>
                  </a:effectLst>
                </a:rPr>
                <a:t>STORM</a:t>
              </a:r>
              <a:endParaRPr lang="en-US" sz="1050" b="1" cap="none" spc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835" y="1391304"/>
            <a:ext cx="473583" cy="375860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3355" y="2483948"/>
            <a:ext cx="501570" cy="341141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pic>
        <p:nvPicPr>
          <p:cNvPr id="3074" name="Picture 2" descr="Apache HBa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375" y="2604062"/>
            <a:ext cx="781301" cy="193131"/>
          </a:xfrm>
          <a:prstGeom prst="rect">
            <a:avLst/>
          </a:prstGeom>
          <a:noFill/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Solr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8291" y="1557957"/>
            <a:ext cx="698266" cy="384910"/>
          </a:xfrm>
          <a:prstGeom prst="rect">
            <a:avLst/>
          </a:prstGeom>
          <a:noFill/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13586" y="3013609"/>
            <a:ext cx="302650" cy="302650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64" y="1358156"/>
            <a:ext cx="470215" cy="444020"/>
          </a:xfrm>
          <a:prstGeom prst="rect">
            <a:avLst/>
          </a:prstGeom>
          <a:noFill/>
          <a:ln>
            <a:noFill/>
          </a:ln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TextBox 79"/>
          <p:cNvSpPr txBox="1"/>
          <p:nvPr/>
        </p:nvSpPr>
        <p:spPr>
          <a:xfrm>
            <a:off x="264795" y="4144028"/>
            <a:ext cx="1325614" cy="30777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50000"/>
              </a:schemeClr>
            </a:glow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400" b="1">
                <a:solidFill>
                  <a:srgbClr val="600000"/>
                </a:solidFill>
                <a:latin typeface="Arial Narrow" panose="020B0606020202030204" pitchFamily="34" charset="0"/>
                <a:cs typeface="HP Simplified" pitchFamily="34" charset="0"/>
              </a:defRPr>
            </a:lvl1pPr>
          </a:lstStyle>
          <a:p>
            <a:r>
              <a:rPr lang="de-DE" dirty="0" smtClean="0">
                <a:solidFill>
                  <a:srgbClr val="00B0F0"/>
                </a:solidFill>
              </a:rPr>
              <a:t>Platform users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170000" y="4144028"/>
            <a:ext cx="1309192" cy="30777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50000"/>
              </a:schemeClr>
            </a:glow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400" b="1">
                <a:solidFill>
                  <a:srgbClr val="600000"/>
                </a:solidFill>
                <a:latin typeface="Arial Narrow" panose="020B0606020202030204" pitchFamily="34" charset="0"/>
                <a:cs typeface="HP Simplified" pitchFamily="34" charset="0"/>
              </a:defRPr>
            </a:lvl1pPr>
          </a:lstStyle>
          <a:p>
            <a:r>
              <a:rPr lang="de-DE" dirty="0" smtClean="0">
                <a:solidFill>
                  <a:srgbClr val="00B0F0"/>
                </a:solidFill>
              </a:rPr>
              <a:t>Platform clients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655073" y="4146732"/>
            <a:ext cx="1325614" cy="307777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1">
                <a:satMod val="175000"/>
                <a:alpha val="50000"/>
              </a:schemeClr>
            </a:glow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400" b="1">
                <a:solidFill>
                  <a:srgbClr val="600000"/>
                </a:solidFill>
                <a:latin typeface="Arial Narrow" panose="020B0606020202030204" pitchFamily="34" charset="0"/>
                <a:cs typeface="HP Simplified" pitchFamily="34" charset="0"/>
              </a:defRPr>
            </a:lvl1pPr>
          </a:lstStyle>
          <a:p>
            <a:r>
              <a:rPr lang="de-DE" dirty="0" smtClean="0">
                <a:solidFill>
                  <a:srgbClr val="00B0F0"/>
                </a:solidFill>
              </a:rPr>
              <a:t>Curiosity platform </a:t>
            </a:r>
          </a:p>
        </p:txBody>
      </p:sp>
      <p:pic>
        <p:nvPicPr>
          <p:cNvPr id="83" name="Picture 2" descr="Bild in Originalgröße anzeig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765" y="1944935"/>
            <a:ext cx="807148" cy="189680"/>
          </a:xfrm>
          <a:prstGeom prst="rect">
            <a:avLst/>
          </a:prstGeom>
          <a:noFill/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 descr="Apache HBa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925" y="3739751"/>
            <a:ext cx="632475" cy="156342"/>
          </a:xfrm>
          <a:prstGeom prst="rect">
            <a:avLst/>
          </a:prstGeom>
          <a:noFill/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48264" y="1354959"/>
            <a:ext cx="243861" cy="377985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sp>
        <p:nvSpPr>
          <p:cNvPr id="7" name="Rectangle 6"/>
          <p:cNvSpPr/>
          <p:nvPr/>
        </p:nvSpPr>
        <p:spPr>
          <a:xfrm>
            <a:off x="1749266" y="1976941"/>
            <a:ext cx="578492" cy="276999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fka</a:t>
            </a:r>
            <a:endParaRPr lang="en-US" sz="1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705467" y="1584131"/>
            <a:ext cx="578492" cy="276999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fka</a:t>
            </a:r>
            <a:endParaRPr lang="en-US" sz="1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229" y="3334813"/>
            <a:ext cx="759081" cy="245981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  <p:pic>
        <p:nvPicPr>
          <p:cNvPr id="8" name="Picture 4" descr="http://www.flexiant.com/wp-content/uploads/openstack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073" y="2916679"/>
            <a:ext cx="481232" cy="496509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/>
          <p:cNvSpPr/>
          <p:nvPr/>
        </p:nvSpPr>
        <p:spPr>
          <a:xfrm>
            <a:off x="1544099" y="1679452"/>
            <a:ext cx="239116" cy="60450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800" dirty="0" smtClean="0"/>
              <a:t>Action &amp; Notify</a:t>
            </a:r>
            <a:endParaRPr lang="en-US" sz="800" dirty="0"/>
          </a:p>
        </p:txBody>
      </p:sp>
      <p:pic>
        <p:nvPicPr>
          <p:cNvPr id="3" name="Picture 2" descr="http://kafka.apache.org/images/kafka_logo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507" y="1743899"/>
            <a:ext cx="243897" cy="380480"/>
          </a:xfrm>
          <a:prstGeom prst="rect">
            <a:avLst/>
          </a:prstGeom>
          <a:effectLst>
            <a:glow rad="101600">
              <a:srgbClr val="FFFF00">
                <a:alpha val="60000"/>
              </a:srgbClr>
            </a:glow>
            <a:outerShdw blurRad="50800" dist="38100" dir="8100000" algn="tr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013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A 2.0 / Curiosity PI1</a:t>
            </a:r>
            <a:endParaRPr lang="en-IE" dirty="0"/>
          </a:p>
        </p:txBody>
      </p:sp>
      <p:sp>
        <p:nvSpPr>
          <p:cNvPr id="6" name="Round Diagonal Corner Rectangle 5"/>
          <p:cNvSpPr/>
          <p:nvPr/>
        </p:nvSpPr>
        <p:spPr>
          <a:xfrm>
            <a:off x="348972" y="871307"/>
            <a:ext cx="8175962" cy="3524222"/>
          </a:xfrm>
          <a:prstGeom prst="round2Diag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6213" lvl="0" indent="-176213" defTabSz="4572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a-DK" dirty="0" smtClean="0">
                <a:solidFill>
                  <a:prstClr val="black"/>
                </a:solidFill>
              </a:rPr>
              <a:t>Release train and teams established</a:t>
            </a:r>
          </a:p>
          <a:p>
            <a:pPr marL="176213" lvl="0" indent="-176213" defTabSz="4572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a-DK" dirty="0" smtClean="0">
                <a:solidFill>
                  <a:prstClr val="black"/>
                </a:solidFill>
              </a:rPr>
              <a:t>Continous delivery adopted</a:t>
            </a:r>
            <a:endParaRPr lang="da-DK" dirty="0">
              <a:solidFill>
                <a:prstClr val="black"/>
              </a:solidFill>
            </a:endParaRPr>
          </a:p>
          <a:p>
            <a:pPr marL="176213" indent="-176213" defTabSz="4572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da-DK" dirty="0" smtClean="0">
                <a:solidFill>
                  <a:prstClr val="black"/>
                </a:solidFill>
              </a:rPr>
              <a:t>Curiosity platform established</a:t>
            </a:r>
          </a:p>
          <a:p>
            <a:pPr marL="176213" indent="-176213" defTabSz="4572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da-DK" dirty="0" smtClean="0">
                <a:solidFill>
                  <a:prstClr val="black"/>
                </a:solidFill>
              </a:rPr>
              <a:t>Enabling Domino / HP Storage</a:t>
            </a:r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da-DK" dirty="0" smtClean="0">
                <a:solidFill>
                  <a:prstClr val="black"/>
                </a:solidFill>
              </a:rPr>
              <a:t>Roadmap </a:t>
            </a:r>
            <a:r>
              <a:rPr lang="da-DK" dirty="0">
                <a:solidFill>
                  <a:prstClr val="black"/>
                </a:solidFill>
              </a:rPr>
              <a:t>and technical </a:t>
            </a:r>
            <a:r>
              <a:rPr lang="da-DK" dirty="0" smtClean="0">
                <a:solidFill>
                  <a:prstClr val="black"/>
                </a:solidFill>
              </a:rPr>
              <a:t>strategy</a:t>
            </a:r>
          </a:p>
          <a:p>
            <a:pPr marL="633413" lvl="1" indent="-176213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da-DK" dirty="0" smtClean="0">
                <a:solidFill>
                  <a:prstClr val="black"/>
                </a:solidFill>
              </a:rPr>
              <a:t>analytics</a:t>
            </a:r>
            <a:r>
              <a:rPr lang="da-DK" dirty="0">
                <a:solidFill>
                  <a:prstClr val="black"/>
                </a:solidFill>
              </a:rPr>
              <a:t>, environment monitoring, cloud, SA10, </a:t>
            </a:r>
            <a:r>
              <a:rPr lang="da-DK" dirty="0" smtClean="0">
                <a:solidFill>
                  <a:prstClr val="black"/>
                </a:solidFill>
              </a:rPr>
              <a:t>UX/UI</a:t>
            </a:r>
            <a:endParaRPr lang="da-DK" dirty="0">
              <a:solidFill>
                <a:prstClr val="black"/>
              </a:solidFill>
            </a:endParaRPr>
          </a:p>
          <a:p>
            <a:pPr marL="176213" indent="-176213" defTabSz="4572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da-DK" dirty="0" smtClean="0">
                <a:solidFill>
                  <a:prstClr val="black"/>
                </a:solidFill>
              </a:rPr>
              <a:t>Internal release with PI2 in June 2015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0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 title="Docker Cluster"/>
          <p:cNvSpPr/>
          <p:nvPr/>
        </p:nvSpPr>
        <p:spPr>
          <a:xfrm>
            <a:off x="4837860" y="403578"/>
            <a:ext cx="3138852" cy="40631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1482136454"/>
              </p:ext>
            </p:extLst>
          </p:nvPr>
        </p:nvGraphicFramePr>
        <p:xfrm>
          <a:off x="4841951" y="403577"/>
          <a:ext cx="3346299" cy="4199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78" y="50880"/>
            <a:ext cx="8117206" cy="430887"/>
          </a:xfrm>
        </p:spPr>
        <p:txBody>
          <a:bodyPr/>
          <a:lstStyle/>
          <a:p>
            <a:r>
              <a:rPr lang="en-IE" sz="2400" dirty="0"/>
              <a:t>Current CI Environment</a:t>
            </a:r>
            <a:endParaRPr lang="en-US" sz="2400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073001160"/>
              </p:ext>
            </p:extLst>
          </p:nvPr>
        </p:nvGraphicFramePr>
        <p:xfrm>
          <a:off x="1942490" y="1485788"/>
          <a:ext cx="2143038" cy="19744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23" y="2348972"/>
            <a:ext cx="723935" cy="72393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23" y="3429592"/>
            <a:ext cx="723935" cy="72393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23" y="1312629"/>
            <a:ext cx="723935" cy="72393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321015" y="158562"/>
            <a:ext cx="1540231" cy="1729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smtClean="0"/>
              <a:t>CSM Cloud VM’s</a:t>
            </a:r>
            <a:endParaRPr lang="en-US" dirty="0" err="1" smtClean="0"/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454434907"/>
              </p:ext>
            </p:extLst>
          </p:nvPr>
        </p:nvGraphicFramePr>
        <p:xfrm>
          <a:off x="7754314" y="311254"/>
          <a:ext cx="1752808" cy="3832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7" name="Right Arrow 26"/>
          <p:cNvSpPr/>
          <p:nvPr/>
        </p:nvSpPr>
        <p:spPr>
          <a:xfrm>
            <a:off x="861335" y="1366443"/>
            <a:ext cx="244934" cy="203020"/>
          </a:xfrm>
          <a:prstGeom prst="rightArrow">
            <a:avLst/>
          </a:prstGeom>
          <a:solidFill>
            <a:srgbClr val="008B2C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26" name="Right Arrow 25"/>
          <p:cNvSpPr/>
          <p:nvPr/>
        </p:nvSpPr>
        <p:spPr>
          <a:xfrm>
            <a:off x="7622967" y="2036564"/>
            <a:ext cx="606481" cy="338479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2" name="Rounded Rectangle 11"/>
          <p:cNvSpPr/>
          <p:nvPr/>
        </p:nvSpPr>
        <p:spPr>
          <a:xfrm>
            <a:off x="1988140" y="1084102"/>
            <a:ext cx="2555945" cy="29211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2579805" y="851861"/>
            <a:ext cx="1325880" cy="237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smtClean="0"/>
              <a:t>GVC Cloud</a:t>
            </a:r>
            <a:endParaRPr lang="en-US" dirty="0" err="1" smtClean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4145" y="3916651"/>
            <a:ext cx="465386" cy="4145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50000"/>
              </a:prstClr>
            </a:outerShdw>
            <a:softEdge rad="38100"/>
          </a:effectLst>
        </p:spPr>
      </p:pic>
      <p:sp>
        <p:nvSpPr>
          <p:cNvPr id="31" name="TextBox 30"/>
          <p:cNvSpPr txBox="1"/>
          <p:nvPr/>
        </p:nvSpPr>
        <p:spPr>
          <a:xfrm>
            <a:off x="7641636" y="1916699"/>
            <a:ext cx="646368" cy="2460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7" name="Rounded Rectangle 6"/>
          <p:cNvSpPr/>
          <p:nvPr/>
        </p:nvSpPr>
        <p:spPr>
          <a:xfrm>
            <a:off x="2354352" y="1625885"/>
            <a:ext cx="1280530" cy="1540509"/>
          </a:xfrm>
          <a:prstGeom prst="roundRect">
            <a:avLst/>
          </a:prstGeom>
          <a:ln w="28575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/>
          <a:lstStyle/>
          <a:p>
            <a:pPr algn="ctr">
              <a:lnSpc>
                <a:spcPct val="90000"/>
              </a:lnSpc>
            </a:pPr>
            <a:r>
              <a:rPr lang="en-IE" sz="1600" dirty="0" err="1"/>
              <a:t>GitHub</a:t>
            </a:r>
            <a:endParaRPr lang="en-IE" sz="1600" dirty="0"/>
          </a:p>
          <a:p>
            <a:pPr algn="ctr">
              <a:lnSpc>
                <a:spcPct val="90000"/>
              </a:lnSpc>
            </a:pPr>
            <a:r>
              <a:rPr lang="en-IE" sz="1600" dirty="0"/>
              <a:t>Enterprise</a:t>
            </a:r>
            <a:endParaRPr lang="en-US" sz="1600" dirty="0"/>
          </a:p>
        </p:txBody>
      </p:sp>
      <p:sp>
        <p:nvSpPr>
          <p:cNvPr id="29" name="Rounded Rectangle 28"/>
          <p:cNvSpPr/>
          <p:nvPr/>
        </p:nvSpPr>
        <p:spPr>
          <a:xfrm>
            <a:off x="2857587" y="2439115"/>
            <a:ext cx="353555" cy="331238"/>
          </a:xfrm>
          <a:prstGeom prst="roundRect">
            <a:avLst>
              <a:gd name="adj" fmla="val 10000"/>
            </a:avLst>
          </a:prstGeom>
          <a:blipFill rotWithShape="1">
            <a:blip r:embed="rId19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Rounded Rectangle 7"/>
          <p:cNvSpPr/>
          <p:nvPr/>
        </p:nvSpPr>
        <p:spPr>
          <a:xfrm>
            <a:off x="1120751" y="715089"/>
            <a:ext cx="569214" cy="3813221"/>
          </a:xfrm>
          <a:prstGeom prst="roundRect">
            <a:avLst/>
          </a:prstGeom>
          <a:ln w="19050">
            <a:solidFill>
              <a:schemeClr val="accent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r>
              <a:rPr lang="en-IE" sz="1600" dirty="0"/>
              <a:t>G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i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t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H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u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b</a:t>
            </a:r>
          </a:p>
          <a:p>
            <a:pPr algn="ctr">
              <a:lnSpc>
                <a:spcPct val="90000"/>
              </a:lnSpc>
            </a:pPr>
            <a:endParaRPr lang="en-IE" sz="1600" dirty="0"/>
          </a:p>
          <a:p>
            <a:pPr algn="ctr">
              <a:lnSpc>
                <a:spcPct val="90000"/>
              </a:lnSpc>
            </a:pPr>
            <a:r>
              <a:rPr lang="en-IE" sz="1600" dirty="0"/>
              <a:t>F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l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o</a:t>
            </a:r>
          </a:p>
          <a:p>
            <a:pPr algn="ctr">
              <a:lnSpc>
                <a:spcPct val="90000"/>
              </a:lnSpc>
            </a:pPr>
            <a:r>
              <a:rPr lang="en-IE" sz="1600" dirty="0"/>
              <a:t>w</a:t>
            </a:r>
            <a:endParaRPr lang="en-US" sz="1600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144" y="4069200"/>
            <a:ext cx="914616" cy="294148"/>
          </a:xfrm>
          <a:prstGeom prst="rect">
            <a:avLst/>
          </a:prstGeom>
        </p:spPr>
      </p:pic>
      <p:sp>
        <p:nvSpPr>
          <p:cNvPr id="33" name="Right Arrow 32"/>
          <p:cNvSpPr/>
          <p:nvPr/>
        </p:nvSpPr>
        <p:spPr>
          <a:xfrm>
            <a:off x="850795" y="2423839"/>
            <a:ext cx="244934" cy="203020"/>
          </a:xfrm>
          <a:prstGeom prst="rightArrow">
            <a:avLst/>
          </a:prstGeom>
          <a:solidFill>
            <a:srgbClr val="008B2C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4" name="Right Arrow 33"/>
          <p:cNvSpPr/>
          <p:nvPr/>
        </p:nvSpPr>
        <p:spPr>
          <a:xfrm>
            <a:off x="846853" y="3464289"/>
            <a:ext cx="244934" cy="203020"/>
          </a:xfrm>
          <a:prstGeom prst="rightArrow">
            <a:avLst/>
          </a:prstGeom>
          <a:solidFill>
            <a:srgbClr val="008B2C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5" name="Right Arrow 34"/>
          <p:cNvSpPr/>
          <p:nvPr/>
        </p:nvSpPr>
        <p:spPr>
          <a:xfrm rot="10800000">
            <a:off x="844524" y="1644330"/>
            <a:ext cx="244934" cy="203020"/>
          </a:xfrm>
          <a:prstGeom prst="rightArrow">
            <a:avLst/>
          </a:prstGeom>
          <a:solidFill>
            <a:srgbClr val="FF0000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6" name="Right Arrow 35"/>
          <p:cNvSpPr/>
          <p:nvPr/>
        </p:nvSpPr>
        <p:spPr>
          <a:xfrm rot="10800000">
            <a:off x="836072" y="2670974"/>
            <a:ext cx="244934" cy="203020"/>
          </a:xfrm>
          <a:prstGeom prst="rightArrow">
            <a:avLst/>
          </a:prstGeom>
          <a:solidFill>
            <a:srgbClr val="FF0000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7" name="Right Arrow 36"/>
          <p:cNvSpPr/>
          <p:nvPr/>
        </p:nvSpPr>
        <p:spPr>
          <a:xfrm rot="10800000">
            <a:off x="822577" y="3713631"/>
            <a:ext cx="244934" cy="203020"/>
          </a:xfrm>
          <a:prstGeom prst="rightArrow">
            <a:avLst/>
          </a:prstGeom>
          <a:solidFill>
            <a:srgbClr val="FF0000"/>
          </a:solidFill>
          <a:ln w="1905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9" name="Right Arrow 38"/>
          <p:cNvSpPr/>
          <p:nvPr/>
        </p:nvSpPr>
        <p:spPr>
          <a:xfrm>
            <a:off x="1721259" y="2274502"/>
            <a:ext cx="606481" cy="240687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40" name="Right Arrow 39"/>
          <p:cNvSpPr/>
          <p:nvPr/>
        </p:nvSpPr>
        <p:spPr>
          <a:xfrm>
            <a:off x="1727746" y="2789456"/>
            <a:ext cx="606481" cy="240687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8" name="Right Arrow 37"/>
          <p:cNvSpPr/>
          <p:nvPr/>
        </p:nvSpPr>
        <p:spPr>
          <a:xfrm rot="10800000">
            <a:off x="4390620" y="2187543"/>
            <a:ext cx="600705" cy="292490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633" y="829558"/>
            <a:ext cx="315491" cy="21377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329" y="159421"/>
            <a:ext cx="315491" cy="2137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50892" y="471845"/>
            <a:ext cx="1220724" cy="1870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200" dirty="0" err="1">
                <a:solidFill>
                  <a:schemeClr val="tx2">
                    <a:lumMod val="50000"/>
                  </a:schemeClr>
                </a:solidFill>
              </a:rPr>
              <a:t>Docker</a:t>
            </a:r>
            <a:r>
              <a:rPr lang="en-IE" sz="1200" dirty="0">
                <a:solidFill>
                  <a:schemeClr val="tx2">
                    <a:lumMod val="50000"/>
                  </a:schemeClr>
                </a:solidFill>
              </a:rPr>
              <a:t> Cluster</a:t>
            </a:r>
            <a:endParaRPr lang="en-US" sz="12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4423439" y="1807565"/>
            <a:ext cx="600705" cy="292490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25" name="Right Arrow 24"/>
          <p:cNvSpPr/>
          <p:nvPr/>
        </p:nvSpPr>
        <p:spPr>
          <a:xfrm>
            <a:off x="1714989" y="1772252"/>
            <a:ext cx="606481" cy="240687"/>
          </a:xfrm>
          <a:prstGeom prst="rightArrow">
            <a:avLst/>
          </a:prstGeom>
          <a:solidFill>
            <a:schemeClr val="tx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43" name="Rounded Rectangle 42"/>
          <p:cNvSpPr/>
          <p:nvPr/>
        </p:nvSpPr>
        <p:spPr>
          <a:xfrm>
            <a:off x="3772580" y="1745840"/>
            <a:ext cx="618040" cy="891069"/>
          </a:xfrm>
          <a:prstGeom prst="roundRect">
            <a:avLst/>
          </a:prstGeom>
          <a:ln w="28575">
            <a:solidFill>
              <a:schemeClr val="tx1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/>
          <a:lstStyle/>
          <a:p>
            <a:pPr algn="ctr">
              <a:lnSpc>
                <a:spcPct val="90000"/>
              </a:lnSpc>
            </a:pPr>
            <a:endParaRPr lang="en-IE" sz="1400" dirty="0" smtClean="0"/>
          </a:p>
          <a:p>
            <a:pPr algn="ctr">
              <a:lnSpc>
                <a:spcPct val="90000"/>
              </a:lnSpc>
            </a:pPr>
            <a:r>
              <a:rPr lang="en-IE" sz="1400" dirty="0" smtClean="0"/>
              <a:t>Web Hook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0562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 title="Docker Cluster"/>
          <p:cNvSpPr/>
          <p:nvPr/>
        </p:nvSpPr>
        <p:spPr>
          <a:xfrm>
            <a:off x="178193" y="689051"/>
            <a:ext cx="5836274" cy="4174505"/>
          </a:xfrm>
          <a:prstGeom prst="roundRect">
            <a:avLst/>
          </a:prstGeom>
          <a:ln w="19050" cap="rnd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382" y="104432"/>
            <a:ext cx="8117206" cy="430887"/>
          </a:xfrm>
        </p:spPr>
        <p:txBody>
          <a:bodyPr/>
          <a:lstStyle/>
          <a:p>
            <a:r>
              <a:rPr lang="en-IE" sz="1800" dirty="0"/>
              <a:t>Jenkins CI Architecture Overview</a:t>
            </a:r>
            <a:endParaRPr lang="en-US" sz="18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594" y="1145929"/>
            <a:ext cx="491338" cy="425732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7880" y="1062743"/>
            <a:ext cx="1124711" cy="2597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err="1" smtClean="0"/>
              <a:t>Ansible</a:t>
            </a:r>
            <a:r>
              <a:rPr lang="en-IE" dirty="0" smtClean="0"/>
              <a:t> (Chef)</a:t>
            </a:r>
          </a:p>
          <a:p>
            <a:pPr>
              <a:lnSpc>
                <a:spcPct val="90000"/>
              </a:lnSpc>
            </a:pPr>
            <a:endParaRPr lang="en-IE" sz="1200" dirty="0"/>
          </a:p>
          <a:p>
            <a:pPr>
              <a:lnSpc>
                <a:spcPct val="90000"/>
              </a:lnSpc>
            </a:pPr>
            <a:r>
              <a:rPr lang="en-IE" sz="1200" dirty="0"/>
              <a:t>Automated installation, configuration and administration of </a:t>
            </a:r>
            <a:r>
              <a:rPr lang="en-IE" sz="1200" dirty="0" err="1"/>
              <a:t>Docker</a:t>
            </a:r>
            <a:r>
              <a:rPr lang="en-IE" sz="1200" dirty="0"/>
              <a:t> hosts and Shipyard</a:t>
            </a:r>
          </a:p>
          <a:p>
            <a:pPr>
              <a:lnSpc>
                <a:spcPct val="90000"/>
              </a:lnSpc>
            </a:pPr>
            <a:endParaRPr lang="en-US" sz="1200" dirty="0" err="1"/>
          </a:p>
        </p:txBody>
      </p:sp>
      <p:sp>
        <p:nvSpPr>
          <p:cNvPr id="6" name="TextBox 5"/>
          <p:cNvSpPr txBox="1"/>
          <p:nvPr/>
        </p:nvSpPr>
        <p:spPr>
          <a:xfrm>
            <a:off x="6296603" y="2129142"/>
            <a:ext cx="2444510" cy="7056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28588" indent="-1285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900" dirty="0"/>
              <a:t>Updated Jenkins images pushed to Registry</a:t>
            </a:r>
          </a:p>
          <a:p>
            <a:pPr marL="128588" indent="-1285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900" dirty="0"/>
              <a:t>Pulled down from VM’s</a:t>
            </a:r>
          </a:p>
          <a:p>
            <a:pPr marL="128588" indent="-1285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900" dirty="0"/>
              <a:t>Run images through Shipyard or command line</a:t>
            </a:r>
          </a:p>
          <a:p>
            <a:pPr marL="128588" indent="-1285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IE" sz="900" dirty="0"/>
              <a:t>Rapid deployment of new Jenkins slaves, ensuring scalability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814718" y="822307"/>
            <a:ext cx="3927563" cy="3907232"/>
          </a:xfrm>
          <a:prstGeom prst="roundRect">
            <a:avLst/>
          </a:prstGeom>
          <a:solidFill>
            <a:srgbClr val="FFFF00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3" name="Rounded Rectangle 2"/>
          <p:cNvSpPr/>
          <p:nvPr/>
        </p:nvSpPr>
        <p:spPr>
          <a:xfrm>
            <a:off x="3146762" y="1017422"/>
            <a:ext cx="2354277" cy="3507099"/>
          </a:xfrm>
          <a:prstGeom prst="roundRect">
            <a:avLst/>
          </a:prstGeom>
          <a:solidFill>
            <a:srgbClr val="FFC000"/>
          </a:solidFill>
          <a:ln w="19050">
            <a:solidFill>
              <a:srgbClr val="FFC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664563091"/>
              </p:ext>
            </p:extLst>
          </p:nvPr>
        </p:nvGraphicFramePr>
        <p:xfrm>
          <a:off x="3072574" y="1108834"/>
          <a:ext cx="2729048" cy="3326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973500" y="1179732"/>
            <a:ext cx="1051214" cy="17074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smtClean="0"/>
              <a:t>Shipyard</a:t>
            </a:r>
          </a:p>
          <a:p>
            <a:pPr>
              <a:lnSpc>
                <a:spcPct val="90000"/>
              </a:lnSpc>
            </a:pPr>
            <a:endParaRPr lang="en-IE" sz="1200" dirty="0"/>
          </a:p>
          <a:p>
            <a:pPr>
              <a:lnSpc>
                <a:spcPct val="90000"/>
              </a:lnSpc>
            </a:pPr>
            <a:r>
              <a:rPr lang="en-IE" sz="1200" dirty="0" err="1"/>
              <a:t>Docker</a:t>
            </a:r>
            <a:r>
              <a:rPr lang="en-IE" sz="1200" dirty="0"/>
              <a:t> Cluster</a:t>
            </a:r>
          </a:p>
          <a:p>
            <a:pPr>
              <a:lnSpc>
                <a:spcPct val="90000"/>
              </a:lnSpc>
            </a:pPr>
            <a:r>
              <a:rPr lang="en-IE" sz="1200" dirty="0"/>
              <a:t>management</a:t>
            </a:r>
          </a:p>
          <a:p>
            <a:pPr>
              <a:lnSpc>
                <a:spcPct val="90000"/>
              </a:lnSpc>
            </a:pPr>
            <a:r>
              <a:rPr lang="en-IE" sz="1200" dirty="0"/>
              <a:t>and container deployment/deletion, ensuring scalable Jenkins CI Cluster</a:t>
            </a:r>
            <a:endParaRPr lang="en-US" sz="1200" dirty="0" err="1"/>
          </a:p>
        </p:txBody>
      </p:sp>
      <p:sp>
        <p:nvSpPr>
          <p:cNvPr id="32" name="TextBox 31"/>
          <p:cNvSpPr txBox="1"/>
          <p:nvPr/>
        </p:nvSpPr>
        <p:spPr>
          <a:xfrm>
            <a:off x="3684157" y="1073434"/>
            <a:ext cx="1268730" cy="212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smtClean="0"/>
              <a:t>CI </a:t>
            </a:r>
            <a:r>
              <a:rPr lang="en-IE" dirty="0" err="1" smtClean="0"/>
              <a:t>Docker</a:t>
            </a:r>
            <a:r>
              <a:rPr lang="en-IE" dirty="0" smtClean="0"/>
              <a:t> Cluster</a:t>
            </a:r>
            <a:endParaRPr lang="en-US" dirty="0" err="1" smtClean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197" y="1062743"/>
            <a:ext cx="592106" cy="59210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7192" y="645003"/>
            <a:ext cx="370241" cy="56770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872" y="1018368"/>
            <a:ext cx="370241" cy="56770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481" y="1383561"/>
            <a:ext cx="370241" cy="567704"/>
          </a:xfrm>
          <a:prstGeom prst="rect">
            <a:avLst/>
          </a:prstGeom>
        </p:spPr>
      </p:pic>
      <p:cxnSp>
        <p:nvCxnSpPr>
          <p:cNvPr id="40" name="Straight Arrow Connector 39"/>
          <p:cNvCxnSpPr>
            <a:stCxn id="15" idx="3"/>
            <a:endCxn id="19" idx="1"/>
          </p:cNvCxnSpPr>
          <p:nvPr/>
        </p:nvCxnSpPr>
        <p:spPr>
          <a:xfrm>
            <a:off x="6747931" y="1358796"/>
            <a:ext cx="454265" cy="1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6609463" y="1673676"/>
            <a:ext cx="1777571" cy="28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IE" sz="1100" dirty="0" err="1"/>
              <a:t>Docker</a:t>
            </a:r>
            <a:r>
              <a:rPr lang="en-IE" sz="1100" dirty="0"/>
              <a:t> Images</a:t>
            </a:r>
          </a:p>
          <a:p>
            <a:pPr algn="ctr">
              <a:lnSpc>
                <a:spcPct val="90000"/>
              </a:lnSpc>
            </a:pPr>
            <a:r>
              <a:rPr lang="en-IE" sz="1100" dirty="0"/>
              <a:t>Registry</a:t>
            </a:r>
            <a:endParaRPr lang="en-US" sz="1100" dirty="0" err="1"/>
          </a:p>
        </p:txBody>
      </p:sp>
      <p:sp>
        <p:nvSpPr>
          <p:cNvPr id="57" name="TextBox 56"/>
          <p:cNvSpPr txBox="1"/>
          <p:nvPr/>
        </p:nvSpPr>
        <p:spPr>
          <a:xfrm>
            <a:off x="6673910" y="997722"/>
            <a:ext cx="706203" cy="28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100" dirty="0" err="1"/>
              <a:t>docker</a:t>
            </a:r>
            <a:r>
              <a:rPr lang="en-IE" sz="1100" dirty="0"/>
              <a:t> push</a:t>
            </a:r>
            <a:endParaRPr lang="en-US" sz="1100" dirty="0" err="1"/>
          </a:p>
        </p:txBody>
      </p:sp>
      <p:sp>
        <p:nvSpPr>
          <p:cNvPr id="58" name="TextBox 57"/>
          <p:cNvSpPr txBox="1"/>
          <p:nvPr/>
        </p:nvSpPr>
        <p:spPr>
          <a:xfrm>
            <a:off x="7575732" y="697945"/>
            <a:ext cx="1078155" cy="283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sz="1100" dirty="0" err="1"/>
              <a:t>docker</a:t>
            </a:r>
            <a:r>
              <a:rPr lang="en-IE" sz="1100" dirty="0"/>
              <a:t> pull</a:t>
            </a:r>
            <a:endParaRPr lang="en-US" sz="1100" dirty="0" err="1"/>
          </a:p>
        </p:txBody>
      </p:sp>
      <p:cxnSp>
        <p:nvCxnSpPr>
          <p:cNvPr id="61" name="Straight Arrow Connector 60"/>
          <p:cNvCxnSpPr/>
          <p:nvPr/>
        </p:nvCxnSpPr>
        <p:spPr>
          <a:xfrm flipV="1">
            <a:off x="7763763" y="928855"/>
            <a:ext cx="458979" cy="186981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>
            <a:off x="7794303" y="1277728"/>
            <a:ext cx="495961" cy="3846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>
            <a:off x="7858749" y="1507938"/>
            <a:ext cx="512123" cy="159475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969656"/>
              </p:ext>
            </p:extLst>
          </p:nvPr>
        </p:nvGraphicFramePr>
        <p:xfrm>
          <a:off x="6274048" y="2834840"/>
          <a:ext cx="2584118" cy="1851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059"/>
                <a:gridCol w="1292059"/>
              </a:tblGrid>
              <a:tr h="205740">
                <a:tc>
                  <a:txBody>
                    <a:bodyPr/>
                    <a:lstStyle/>
                    <a:p>
                      <a:r>
                        <a:rPr lang="en-IE" sz="900" dirty="0" err="1" smtClean="0"/>
                        <a:t>Docker</a:t>
                      </a:r>
                      <a:r>
                        <a:rPr lang="en-IE" sz="900" dirty="0" smtClean="0"/>
                        <a:t> Host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Description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45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Shipyard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1928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Interlock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46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Jenkins</a:t>
                      </a:r>
                      <a:r>
                        <a:rPr lang="en-IE" sz="900" baseline="0" dirty="0" smtClean="0"/>
                        <a:t> Master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47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Registry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48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err="1" smtClean="0"/>
                        <a:t>Logstash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49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Jenkins Slave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50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Jenkins Slave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C0052451.itcs.hp.com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E" sz="900" dirty="0" smtClean="0"/>
                        <a:t>Jenkins Slave</a:t>
                      </a:r>
                      <a:endParaRPr lang="en-US" sz="900" dirty="0"/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769410" y="370395"/>
            <a:ext cx="1666494" cy="1963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IE" dirty="0" err="1" smtClean="0"/>
              <a:t>Docker</a:t>
            </a:r>
            <a:r>
              <a:rPr lang="en-IE" dirty="0" smtClean="0"/>
              <a:t> Images</a:t>
            </a: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174974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201" y="9272"/>
            <a:ext cx="8117206" cy="430887"/>
          </a:xfrm>
        </p:spPr>
        <p:txBody>
          <a:bodyPr/>
          <a:lstStyle/>
          <a:p>
            <a:r>
              <a:rPr lang="en-GB" dirty="0" smtClean="0"/>
              <a:t>SA2.0 Current </a:t>
            </a:r>
            <a:r>
              <a:rPr lang="en-GB" dirty="0" err="1" smtClean="0"/>
              <a:t>GitHub</a:t>
            </a:r>
            <a:r>
              <a:rPr lang="en-GB" dirty="0" smtClean="0"/>
              <a:t> Process Flow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910266" y="3635962"/>
            <a:ext cx="4883084" cy="1127164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MASTER Branch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879711" y="659647"/>
            <a:ext cx="1106492" cy="6881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DEV Branch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135049" y="659647"/>
            <a:ext cx="1106492" cy="6881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DEV Branch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90384" y="659647"/>
            <a:ext cx="1106492" cy="6881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DEV Branch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645719" y="659647"/>
            <a:ext cx="1106492" cy="6881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DEV Branch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Down Arrow 15"/>
          <p:cNvSpPr/>
          <p:nvPr/>
        </p:nvSpPr>
        <p:spPr>
          <a:xfrm>
            <a:off x="2210457" y="1403526"/>
            <a:ext cx="358218" cy="2828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Down Arrow 24"/>
          <p:cNvSpPr/>
          <p:nvPr/>
        </p:nvSpPr>
        <p:spPr>
          <a:xfrm>
            <a:off x="3546394" y="1397292"/>
            <a:ext cx="358218" cy="2828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26" name="Down Arrow 25"/>
          <p:cNvSpPr/>
          <p:nvPr/>
        </p:nvSpPr>
        <p:spPr>
          <a:xfrm>
            <a:off x="4811653" y="1397292"/>
            <a:ext cx="358218" cy="2828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6076912" y="1397292"/>
            <a:ext cx="358218" cy="282804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82247" y="2591579"/>
            <a:ext cx="1012224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ll Request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45049" y="2591579"/>
            <a:ext cx="1012224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ll Request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59569" y="2588423"/>
            <a:ext cx="1012224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ll Request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825168" y="2596376"/>
            <a:ext cx="1012224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ll Request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32" name="Snip Single Corner Rectangle 31"/>
          <p:cNvSpPr/>
          <p:nvPr/>
        </p:nvSpPr>
        <p:spPr>
          <a:xfrm>
            <a:off x="2000790" y="1885348"/>
            <a:ext cx="923827" cy="484786"/>
          </a:xfrm>
          <a:prstGeom prst="snip1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black"/>
                </a:solidFill>
              </a:rPr>
              <a:t>C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3" name="Snip Single Corner Rectangle 32"/>
          <p:cNvSpPr/>
          <p:nvPr/>
        </p:nvSpPr>
        <p:spPr>
          <a:xfrm>
            <a:off x="3303385" y="1869832"/>
            <a:ext cx="923827" cy="484786"/>
          </a:xfrm>
          <a:prstGeom prst="snip1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black"/>
                </a:solidFill>
              </a:rPr>
              <a:t>C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4" name="Snip Single Corner Rectangle 33"/>
          <p:cNvSpPr/>
          <p:nvPr/>
        </p:nvSpPr>
        <p:spPr>
          <a:xfrm>
            <a:off x="4578814" y="1869832"/>
            <a:ext cx="923827" cy="484786"/>
          </a:xfrm>
          <a:prstGeom prst="snip1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black"/>
                </a:solidFill>
              </a:rPr>
              <a:t>C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Snip Single Corner Rectangle 34"/>
          <p:cNvSpPr/>
          <p:nvPr/>
        </p:nvSpPr>
        <p:spPr>
          <a:xfrm>
            <a:off x="5812650" y="1888456"/>
            <a:ext cx="923827" cy="484786"/>
          </a:xfrm>
          <a:prstGeom prst="snip1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black"/>
                </a:solidFill>
              </a:rPr>
              <a:t>CI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6" name="Up Arrow 35"/>
          <p:cNvSpPr/>
          <p:nvPr/>
        </p:nvSpPr>
        <p:spPr>
          <a:xfrm>
            <a:off x="2544572" y="1498760"/>
            <a:ext cx="358219" cy="450697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800" dirty="0">
                <a:solidFill>
                  <a:prstClr val="white"/>
                </a:solidFill>
              </a:rPr>
              <a:t>Fix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37" name="Up Arrow 36"/>
          <p:cNvSpPr/>
          <p:nvPr/>
        </p:nvSpPr>
        <p:spPr>
          <a:xfrm>
            <a:off x="3865078" y="1500698"/>
            <a:ext cx="358219" cy="450697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800" dirty="0">
                <a:solidFill>
                  <a:prstClr val="white"/>
                </a:solidFill>
              </a:rPr>
              <a:t>Fix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38" name="Up Arrow 37"/>
          <p:cNvSpPr/>
          <p:nvPr/>
        </p:nvSpPr>
        <p:spPr>
          <a:xfrm>
            <a:off x="5086064" y="1498760"/>
            <a:ext cx="358219" cy="450697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800" dirty="0">
                <a:solidFill>
                  <a:prstClr val="white"/>
                </a:solidFill>
              </a:rPr>
              <a:t>Fix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39" name="Up Arrow 38"/>
          <p:cNvSpPr/>
          <p:nvPr/>
        </p:nvSpPr>
        <p:spPr>
          <a:xfrm>
            <a:off x="6358526" y="1498760"/>
            <a:ext cx="358219" cy="450697"/>
          </a:xfrm>
          <a:prstGeom prst="up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800" dirty="0">
                <a:solidFill>
                  <a:prstClr val="white"/>
                </a:solidFill>
              </a:rPr>
              <a:t>Fix</a:t>
            </a:r>
            <a:endParaRPr lang="en-US" sz="800" dirty="0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210413" y="3289726"/>
            <a:ext cx="4219298" cy="290860"/>
            <a:chOff x="712166" y="3039163"/>
            <a:chExt cx="4219298" cy="290860"/>
          </a:xfrm>
        </p:grpSpPr>
        <p:sp>
          <p:nvSpPr>
            <p:cNvPr id="42" name="Down Arrow 41"/>
            <p:cNvSpPr/>
            <p:nvPr/>
          </p:nvSpPr>
          <p:spPr>
            <a:xfrm>
              <a:off x="712166" y="3047219"/>
              <a:ext cx="358218" cy="28280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3" name="Down Arrow 42"/>
            <p:cNvSpPr/>
            <p:nvPr/>
          </p:nvSpPr>
          <p:spPr>
            <a:xfrm>
              <a:off x="2044492" y="3047219"/>
              <a:ext cx="358218" cy="28280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4" name="Down Arrow 43"/>
            <p:cNvSpPr/>
            <p:nvPr/>
          </p:nvSpPr>
          <p:spPr>
            <a:xfrm>
              <a:off x="3309751" y="3047219"/>
              <a:ext cx="358218" cy="28280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5" name="Down Arrow 44"/>
            <p:cNvSpPr/>
            <p:nvPr/>
          </p:nvSpPr>
          <p:spPr>
            <a:xfrm>
              <a:off x="4573246" y="3039163"/>
              <a:ext cx="358218" cy="28280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47" name="Bent-Up Arrow 46"/>
          <p:cNvSpPr/>
          <p:nvPr/>
        </p:nvSpPr>
        <p:spPr>
          <a:xfrm>
            <a:off x="5247073" y="1267681"/>
            <a:ext cx="465642" cy="3018010"/>
          </a:xfrm>
          <a:prstGeom prst="bentUpArrow">
            <a:avLst>
              <a:gd name="adj1" fmla="val 25000"/>
              <a:gd name="adj2" fmla="val 25769"/>
              <a:gd name="adj3" fmla="val 25000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953863" y="2894928"/>
            <a:ext cx="4806243" cy="32940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dirty="0">
                <a:solidFill>
                  <a:prstClr val="white"/>
                </a:solidFill>
              </a:rPr>
              <a:t>Code/Peer Review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200044" y="2283753"/>
            <a:ext cx="4229669" cy="320187"/>
            <a:chOff x="708511" y="2081333"/>
            <a:chExt cx="4229669" cy="320187"/>
          </a:xfrm>
        </p:grpSpPr>
        <p:sp>
          <p:nvSpPr>
            <p:cNvPr id="49" name="Down Arrow 48"/>
            <p:cNvSpPr/>
            <p:nvPr/>
          </p:nvSpPr>
          <p:spPr>
            <a:xfrm>
              <a:off x="3346031" y="2107998"/>
              <a:ext cx="358218" cy="282804"/>
            </a:xfrm>
            <a:prstGeom prst="downArrow">
              <a:avLst/>
            </a:prstGeom>
            <a:solidFill>
              <a:srgbClr val="92D050"/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0" name="Down Arrow 49"/>
            <p:cNvSpPr/>
            <p:nvPr/>
          </p:nvSpPr>
          <p:spPr>
            <a:xfrm>
              <a:off x="708511" y="2118716"/>
              <a:ext cx="358218" cy="282804"/>
            </a:xfrm>
            <a:prstGeom prst="downArrow">
              <a:avLst/>
            </a:prstGeom>
            <a:solidFill>
              <a:srgbClr val="92D050"/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1" name="Down Arrow 50"/>
            <p:cNvSpPr/>
            <p:nvPr/>
          </p:nvSpPr>
          <p:spPr>
            <a:xfrm>
              <a:off x="4579962" y="2095556"/>
              <a:ext cx="358218" cy="282804"/>
            </a:xfrm>
            <a:prstGeom prst="downArrow">
              <a:avLst/>
            </a:prstGeom>
            <a:solidFill>
              <a:srgbClr val="92D050"/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2" name="Down Arrow 51"/>
            <p:cNvSpPr/>
            <p:nvPr/>
          </p:nvSpPr>
          <p:spPr>
            <a:xfrm>
              <a:off x="2044492" y="2081333"/>
              <a:ext cx="358218" cy="282804"/>
            </a:xfrm>
            <a:prstGeom prst="downArrow">
              <a:avLst/>
            </a:prstGeom>
            <a:solidFill>
              <a:srgbClr val="92D050"/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820275" y="1383450"/>
            <a:ext cx="443060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sh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063313" y="1403564"/>
            <a:ext cx="443060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sh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367403" y="1403562"/>
            <a:ext cx="443060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sh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639215" y="1393811"/>
            <a:ext cx="443060" cy="2230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430191">
              <a:spcAft>
                <a:spcPts val="400"/>
              </a:spcAft>
              <a:buSzPct val="100000"/>
            </a:pPr>
            <a:r>
              <a:rPr lang="de-DE" sz="1000" dirty="0">
                <a:solidFill>
                  <a:srgbClr val="000000"/>
                </a:solidFill>
                <a:cs typeface="HP Simplified" pitchFamily="34" charset="0"/>
              </a:rPr>
              <a:t>Push</a:t>
            </a:r>
            <a:endParaRPr lang="en-US" sz="1000" dirty="0">
              <a:solidFill>
                <a:srgbClr val="000000"/>
              </a:solidFill>
              <a:cs typeface="HP Simplified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79711" y="1703119"/>
            <a:ext cx="631596" cy="22390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1000" dirty="0">
                <a:solidFill>
                  <a:prstClr val="white"/>
                </a:solidFill>
              </a:rPr>
              <a:t>Build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3170510" y="1724108"/>
            <a:ext cx="631596" cy="22390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1000" dirty="0">
                <a:solidFill>
                  <a:prstClr val="white"/>
                </a:solidFill>
              </a:rPr>
              <a:t>Build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418653" y="1692486"/>
            <a:ext cx="631596" cy="22390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1000" dirty="0">
                <a:solidFill>
                  <a:prstClr val="white"/>
                </a:solidFill>
              </a:rPr>
              <a:t>Build</a:t>
            </a:r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5735665" y="1724108"/>
            <a:ext cx="631596" cy="22390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de-DE" sz="1000" dirty="0">
                <a:solidFill>
                  <a:prstClr val="white"/>
                </a:solidFill>
              </a:rPr>
              <a:t>Build</a:t>
            </a:r>
            <a:endParaRPr lang="en-US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47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iosity Application Landscape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218594" y="949903"/>
            <a:ext cx="3927230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pache</a:t>
            </a:r>
            <a:r>
              <a:rPr lang="en-US" dirty="0" smtClean="0"/>
              <a:t> </a:t>
            </a:r>
          </a:p>
          <a:p>
            <a:pPr algn="ctr"/>
            <a:r>
              <a:rPr lang="en-US" sz="1200" dirty="0" err="1" smtClean="0"/>
              <a:t>Revese</a:t>
            </a:r>
            <a:r>
              <a:rPr lang="en-US" sz="1200" dirty="0" smtClean="0"/>
              <a:t> Proxy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287468" y="1859406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REST APIs</a:t>
            </a:r>
            <a:endParaRPr lang="en-US" sz="1600" dirty="0"/>
          </a:p>
        </p:txBody>
      </p:sp>
      <p:sp>
        <p:nvSpPr>
          <p:cNvPr id="5" name="Rounded Rectangle 4"/>
          <p:cNvSpPr/>
          <p:nvPr/>
        </p:nvSpPr>
        <p:spPr>
          <a:xfrm>
            <a:off x="4483345" y="1843444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Portal UIs</a:t>
            </a:r>
            <a:endParaRPr lang="en-US" sz="1600" dirty="0"/>
          </a:p>
        </p:txBody>
      </p:sp>
      <p:sp>
        <p:nvSpPr>
          <p:cNvPr id="6" name="Rounded Rectangle 5"/>
          <p:cNvSpPr/>
          <p:nvPr/>
        </p:nvSpPr>
        <p:spPr>
          <a:xfrm>
            <a:off x="4575666" y="1893264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Portal UIs</a:t>
            </a:r>
            <a:endParaRPr lang="en-US" sz="1600" dirty="0"/>
          </a:p>
        </p:txBody>
      </p:sp>
      <p:sp>
        <p:nvSpPr>
          <p:cNvPr id="7" name="Rounded Rectangle 6"/>
          <p:cNvSpPr/>
          <p:nvPr/>
        </p:nvSpPr>
        <p:spPr>
          <a:xfrm>
            <a:off x="4667987" y="1946031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Portal UIs</a:t>
            </a:r>
            <a:endParaRPr lang="en-US" sz="1600" dirty="0"/>
          </a:p>
        </p:txBody>
      </p:sp>
      <p:sp>
        <p:nvSpPr>
          <p:cNvPr id="8" name="Rounded Rectangle 7"/>
          <p:cNvSpPr/>
          <p:nvPr/>
        </p:nvSpPr>
        <p:spPr>
          <a:xfrm>
            <a:off x="2370994" y="1913791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REST APIs</a:t>
            </a:r>
            <a:endParaRPr lang="en-US" sz="1600" dirty="0"/>
          </a:p>
        </p:txBody>
      </p:sp>
      <p:sp>
        <p:nvSpPr>
          <p:cNvPr id="9" name="Rounded Rectangle 8"/>
          <p:cNvSpPr/>
          <p:nvPr/>
        </p:nvSpPr>
        <p:spPr>
          <a:xfrm>
            <a:off x="2463315" y="1978260"/>
            <a:ext cx="1837592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omcat </a:t>
            </a:r>
          </a:p>
          <a:p>
            <a:pPr algn="ctr"/>
            <a:r>
              <a:rPr lang="en-US" sz="1600" dirty="0" smtClean="0"/>
              <a:t>REST APIs</a:t>
            </a:r>
            <a:endParaRPr lang="en-US" sz="1600" dirty="0"/>
          </a:p>
        </p:txBody>
      </p:sp>
      <p:sp>
        <p:nvSpPr>
          <p:cNvPr id="10" name="Rounded Rectangle 9"/>
          <p:cNvSpPr/>
          <p:nvPr/>
        </p:nvSpPr>
        <p:spPr>
          <a:xfrm>
            <a:off x="2370994" y="1068602"/>
            <a:ext cx="3927230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pache</a:t>
            </a:r>
            <a:r>
              <a:rPr lang="en-US" dirty="0" smtClean="0"/>
              <a:t> </a:t>
            </a:r>
          </a:p>
          <a:p>
            <a:pPr algn="ctr"/>
            <a:r>
              <a:rPr lang="en-US" sz="1200" dirty="0" smtClean="0"/>
              <a:t>Reverse Proxy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2370994" y="2807344"/>
            <a:ext cx="1770183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Kafka</a:t>
            </a:r>
            <a:endParaRPr lang="en-US" sz="1600" dirty="0"/>
          </a:p>
        </p:txBody>
      </p:sp>
      <p:sp>
        <p:nvSpPr>
          <p:cNvPr id="14" name="Rounded Rectangle 13"/>
          <p:cNvSpPr/>
          <p:nvPr/>
        </p:nvSpPr>
        <p:spPr>
          <a:xfrm>
            <a:off x="2444265" y="2874746"/>
            <a:ext cx="1737944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Kafka</a:t>
            </a:r>
            <a:endParaRPr lang="en-US" sz="1600" dirty="0"/>
          </a:p>
        </p:txBody>
      </p:sp>
      <p:sp>
        <p:nvSpPr>
          <p:cNvPr id="15" name="Rounded Rectangle 14"/>
          <p:cNvSpPr/>
          <p:nvPr/>
        </p:nvSpPr>
        <p:spPr>
          <a:xfrm>
            <a:off x="2530724" y="2930083"/>
            <a:ext cx="1770183" cy="4923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Kafka</a:t>
            </a:r>
            <a:endParaRPr lang="en-US" sz="1600" dirty="0"/>
          </a:p>
        </p:txBody>
      </p:sp>
      <p:sp>
        <p:nvSpPr>
          <p:cNvPr id="16" name="Rounded Rectangle 15"/>
          <p:cNvSpPr/>
          <p:nvPr/>
        </p:nvSpPr>
        <p:spPr>
          <a:xfrm>
            <a:off x="2286003" y="3835701"/>
            <a:ext cx="3033344" cy="885769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Hadoop</a:t>
            </a:r>
          </a:p>
          <a:p>
            <a:pPr algn="ctr"/>
            <a:r>
              <a:rPr lang="en-US" sz="1600" dirty="0" smtClean="0"/>
              <a:t>HBase/ Storm / Zookeeper</a:t>
            </a:r>
            <a:endParaRPr lang="en-US" sz="1600" dirty="0"/>
          </a:p>
        </p:txBody>
      </p:sp>
      <p:sp>
        <p:nvSpPr>
          <p:cNvPr id="17" name="Rounded Rectangle 16"/>
          <p:cNvSpPr/>
          <p:nvPr/>
        </p:nvSpPr>
        <p:spPr>
          <a:xfrm>
            <a:off x="5616821" y="3835701"/>
            <a:ext cx="1408233" cy="885769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Vertica</a:t>
            </a:r>
            <a:endParaRPr lang="en-US" sz="1600" dirty="0"/>
          </a:p>
        </p:txBody>
      </p:sp>
      <p:sp>
        <p:nvSpPr>
          <p:cNvPr id="18" name="Rounded Rectangle 17"/>
          <p:cNvSpPr/>
          <p:nvPr/>
        </p:nvSpPr>
        <p:spPr>
          <a:xfrm>
            <a:off x="278716" y="3942224"/>
            <a:ext cx="1119550" cy="33636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IT Private Cloud</a:t>
            </a:r>
            <a:endParaRPr lang="en-US" sz="1200" dirty="0"/>
          </a:p>
        </p:txBody>
      </p:sp>
      <p:sp>
        <p:nvSpPr>
          <p:cNvPr id="19" name="Rounded Rectangle 18"/>
          <p:cNvSpPr/>
          <p:nvPr/>
        </p:nvSpPr>
        <p:spPr>
          <a:xfrm>
            <a:off x="278716" y="4385109"/>
            <a:ext cx="1119550" cy="33636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DS IT</a:t>
            </a:r>
            <a:endParaRPr lang="en-US" sz="1200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3379914" y="1594672"/>
            <a:ext cx="0" cy="38113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5494462" y="1594672"/>
            <a:ext cx="0" cy="32293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9" idx="2"/>
          </p:cNvCxnSpPr>
          <p:nvPr/>
        </p:nvCxnSpPr>
        <p:spPr>
          <a:xfrm flipH="1">
            <a:off x="3379915" y="2470629"/>
            <a:ext cx="2196" cy="4163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>
            <a:off x="3379914" y="3443649"/>
            <a:ext cx="2198" cy="4080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5319347" y="4278585"/>
            <a:ext cx="31506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4294312" y="2224444"/>
            <a:ext cx="36341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6145824" y="2473550"/>
            <a:ext cx="1" cy="136215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61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70" y="87384"/>
            <a:ext cx="8117206" cy="430887"/>
          </a:xfrm>
        </p:spPr>
        <p:txBody>
          <a:bodyPr/>
          <a:lstStyle/>
          <a:p>
            <a:r>
              <a:rPr lang="en-US" dirty="0" smtClean="0"/>
              <a:t>SA 2.0 PRO Landscap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7633" y="72898"/>
            <a:ext cx="1785778" cy="29851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r="40262"/>
          <a:stretch/>
        </p:blipFill>
        <p:spPr>
          <a:xfrm>
            <a:off x="1014419" y="725324"/>
            <a:ext cx="7220621" cy="39125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6567984" y="1113192"/>
            <a:ext cx="901209" cy="3898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defTabSz="430213">
              <a:spcAft>
                <a:spcPts val="400"/>
              </a:spcAft>
              <a:buSzPct val="100000"/>
              <a:buFont typeface="Wingdings"/>
              <a:buChar char="ß"/>
            </a:pPr>
            <a:r>
              <a:rPr lang="en-IE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Houston 4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IE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Houston West </a:t>
            </a:r>
            <a:r>
              <a:rPr lang="en-IE" sz="8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  <a:sym typeface="Wingdings" panose="05000000000000000000" pitchFamily="2" charset="2"/>
              </a:rPr>
              <a:t></a:t>
            </a:r>
            <a:endParaRPr lang="en-IE" sz="8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959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3231" y="91763"/>
            <a:ext cx="8117206" cy="430887"/>
          </a:xfrm>
        </p:spPr>
        <p:txBody>
          <a:bodyPr/>
          <a:lstStyle/>
          <a:p>
            <a:r>
              <a:rPr lang="en-GB" sz="2400" dirty="0" smtClean="0"/>
              <a:t>SA1.0 </a:t>
            </a:r>
            <a:r>
              <a:rPr lang="en-GB" sz="2400" dirty="0"/>
              <a:t>Reporting/Analytic Data Flow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422" y="678180"/>
            <a:ext cx="7419037" cy="410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40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0998" y="86462"/>
            <a:ext cx="8117206" cy="430887"/>
          </a:xfrm>
        </p:spPr>
        <p:txBody>
          <a:bodyPr/>
          <a:lstStyle/>
          <a:p>
            <a:r>
              <a:rPr lang="en-GB" sz="2400" dirty="0" smtClean="0"/>
              <a:t>SA 2.0 </a:t>
            </a:r>
            <a:r>
              <a:rPr lang="en-GB" sz="2400" dirty="0"/>
              <a:t>Reporting/Analytic Data </a:t>
            </a:r>
            <a:r>
              <a:rPr lang="en-GB" sz="2400" dirty="0" smtClean="0"/>
              <a:t>Flow</a:t>
            </a:r>
            <a:endParaRPr lang="en-GB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632" y="631510"/>
            <a:ext cx="6975213" cy="409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V1dUZuqESSkAHDeOcU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miUgOw0KfTbVbxD0ZEw"/>
</p:tagLst>
</file>

<file path=ppt/theme/theme1.xml><?xml version="1.0" encoding="utf-8"?>
<a:theme xmlns:a="http://schemas.openxmlformats.org/drawingml/2006/main" name="HP2014">
  <a:themeElements>
    <a:clrScheme name="HP PowerPoint 20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P2014" id="{3312928A-1B5C-4C54-9C41-E3D1E3489988}" vid="{D852783E-B8B2-41FD-A33A-44EA1AEAB2B6}"/>
    </a:ext>
  </a:extLst>
</a:theme>
</file>

<file path=ppt/theme/theme2.xml><?xml version="1.0" encoding="utf-8"?>
<a:theme xmlns:a="http://schemas.openxmlformats.org/drawingml/2006/main" name="blank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3.xml><?xml version="1.0" encoding="utf-8"?>
<a:theme xmlns:a="http://schemas.openxmlformats.org/drawingml/2006/main" name="1_HP Standard 16x9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2014</Template>
  <TotalTime>0</TotalTime>
  <Words>744</Words>
  <Application>Microsoft Office PowerPoint</Application>
  <PresentationFormat>On-screen Show (16:9)</PresentationFormat>
  <Paragraphs>260</Paragraphs>
  <Slides>1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Arial Narrow</vt:lpstr>
      <vt:lpstr>Calibri</vt:lpstr>
      <vt:lpstr>Futura Hv</vt:lpstr>
      <vt:lpstr>HP Simplified</vt:lpstr>
      <vt:lpstr>Wingdings</vt:lpstr>
      <vt:lpstr>HP2014</vt:lpstr>
      <vt:lpstr>blank</vt:lpstr>
      <vt:lpstr>1_HP Standard 16x9</vt:lpstr>
      <vt:lpstr>think-cell Slide</vt:lpstr>
      <vt:lpstr>SA 2.0 / Curiosity</vt:lpstr>
      <vt:lpstr>SA 2.0 / Curiosity PI1</vt:lpstr>
      <vt:lpstr>Current CI Environment</vt:lpstr>
      <vt:lpstr>Jenkins CI Architecture Overview</vt:lpstr>
      <vt:lpstr>SA2.0 Current GitHub Process Flow</vt:lpstr>
      <vt:lpstr>Curiosity Application Landscape</vt:lpstr>
      <vt:lpstr>SA 2.0 PRO Landscape</vt:lpstr>
      <vt:lpstr>SA1.0 Reporting/Analytic Data Flow</vt:lpstr>
      <vt:lpstr>SA 2.0 Reporting/Analytic Data Flow</vt:lpstr>
      <vt:lpstr>SA 2.0 End-to-End Analytics</vt:lpstr>
      <vt:lpstr>Goals of PI2 (draft)</vt:lpstr>
      <vt:lpstr>Backup</vt:lpstr>
      <vt:lpstr>Things</vt:lpstr>
      <vt:lpstr>Thingformations</vt:lpstr>
      <vt:lpstr>Relationships</vt:lpstr>
      <vt:lpstr>Concepts &amp; Terms</vt:lpstr>
      <vt:lpstr>Migration</vt:lpstr>
      <vt:lpstr>The Curiosity Architecture Component Stack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20 / Curiosity update</dc:title>
  <dc:creator/>
  <cp:lastModifiedBy/>
  <cp:revision>1</cp:revision>
  <dcterms:created xsi:type="dcterms:W3CDTF">2014-11-27T10:51:10Z</dcterms:created>
  <dcterms:modified xsi:type="dcterms:W3CDTF">2015-02-27T13:55:13Z</dcterms:modified>
</cp:coreProperties>
</file>